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8" r:id="rId4"/>
  </p:sldMasterIdLst>
  <p:notesMasterIdLst>
    <p:notesMasterId r:id="rId13"/>
  </p:notesMasterIdLst>
  <p:handoutMasterIdLst>
    <p:handoutMasterId r:id="rId14"/>
  </p:handoutMasterIdLst>
  <p:sldIdLst>
    <p:sldId id="257" r:id="rId5"/>
    <p:sldId id="283" r:id="rId6"/>
    <p:sldId id="284" r:id="rId7"/>
    <p:sldId id="285" r:id="rId8"/>
    <p:sldId id="286" r:id="rId9"/>
    <p:sldId id="287" r:id="rId10"/>
    <p:sldId id="288" r:id="rId11"/>
    <p:sldId id="279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FF06"/>
    <a:srgbClr val="E80029"/>
    <a:srgbClr val="FCB300"/>
    <a:srgbClr val="EEEEEE"/>
    <a:srgbClr val="F7F7F7"/>
    <a:srgbClr val="F4F4F4"/>
    <a:srgbClr val="FAFAFA"/>
    <a:srgbClr val="D964C7"/>
    <a:srgbClr val="A4A1A9"/>
    <a:srgbClr val="660B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1368" autoAdjust="0"/>
    <p:restoredTop sz="65782" autoAdjust="0"/>
  </p:normalViewPr>
  <p:slideViewPr>
    <p:cSldViewPr snapToGrid="0">
      <p:cViewPr varScale="1">
        <p:scale>
          <a:sx n="82" d="100"/>
          <a:sy n="82" d="100"/>
        </p:scale>
        <p:origin x="1232" y="16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5368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06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32AE93-04B0-4B14-9BA9-5A4E1E888D4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36576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l">
              <a:defRPr sz="1200"/>
            </a:lvl1pPr>
          </a:lstStyle>
          <a:p>
            <a:r>
              <a:rPr lang="en-US" sz="8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© 2017 Keysight Technologies and/or its affiliates. All rights reserved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E6FEEE-424C-49DA-AAE0-6FD6D9B0551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943600" y="8685213"/>
            <a:ext cx="9144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r">
              <a:defRPr sz="1200"/>
            </a:lvl1pPr>
          </a:lstStyle>
          <a:p>
            <a:fld id="{836D5859-1D5A-48C7-BA8C-83EF8FC1CBCA}" type="slidenum">
              <a:rPr lang="en-US" sz="8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‹#›</a:t>
            </a:fld>
            <a:endParaRPr lang="en-US" sz="8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35746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01650" y="914400"/>
            <a:ext cx="5854700" cy="3294063"/>
          </a:xfrm>
          <a:prstGeom prst="rect">
            <a:avLst/>
          </a:prstGeom>
          <a:noFill/>
          <a:ln w="12700">
            <a:solidFill>
              <a:schemeClr val="tx2"/>
            </a:solidFill>
            <a:miter lim="800000"/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14353" y="4400549"/>
            <a:ext cx="5829301" cy="3600451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685213"/>
            <a:ext cx="3657600" cy="458787"/>
          </a:xfrm>
          <a:prstGeom prst="rect">
            <a:avLst/>
          </a:prstGeom>
        </p:spPr>
        <p:txBody>
          <a:bodyPr vert="horz" wrap="square" lIns="182880" tIns="182880" rIns="182880" bIns="182880" rtlCol="0" anchor="b">
            <a:noAutofit/>
          </a:bodyPr>
          <a:lstStyle>
            <a:lvl1pPr>
              <a:defRPr lang="en-US"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© 2017 Keysight Technologies and/or its affiliates. All rights reserved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943600" y="8685213"/>
            <a:ext cx="914400" cy="458787"/>
          </a:xfrm>
          <a:prstGeom prst="rect">
            <a:avLst/>
          </a:prstGeom>
        </p:spPr>
        <p:txBody>
          <a:bodyPr vert="horz" lIns="182880" tIns="182880" rIns="182880" bIns="182880" rtlCol="0" anchor="b"/>
          <a:lstStyle>
            <a:lvl1pPr algn="r">
              <a:defRPr sz="8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8FDEE44-2F84-48D1-BBF6-82E16595D1F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182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Bef>
        <a:spcPts val="400"/>
      </a:spcBef>
      <a:buFont typeface="Arial" panose="020B0604020202020204" pitchFamily="34" charset="0"/>
      <a:buChar char="​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27432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41148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548640" indent="-13716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4103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3669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9764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8001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19969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1117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FDEE44-2F84-48D1-BBF6-82E16595D1F6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0305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259E29B8-69B3-4461-B37F-0DBB9DC0476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67C7E9E7-7333-4EF5-9FC3-4CEF923EA801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40" name="Logo">
            <a:extLst>
              <a:ext uri="{FF2B5EF4-FFF2-40B4-BE49-F238E27FC236}">
                <a16:creationId xmlns:a16="http://schemas.microsoft.com/office/drawing/2014/main" id="{D2A95714-9F6E-48DD-9ED6-94BDDECF0F4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id="{39598F92-4036-449A-A381-281AC133F93A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6A04830E-5424-4362-9CD6-60CBCC39C203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Ruler">
            <a:extLst>
              <a:ext uri="{FF2B5EF4-FFF2-40B4-BE49-F238E27FC236}">
                <a16:creationId xmlns:a16="http://schemas.microsoft.com/office/drawing/2014/main" id="{DBE24C15-4489-4BF7-A20E-4FEB0A1A667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BDB098C-E5AE-4364-A913-1C8D462BF9B3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F9A6D359-A1D3-413C-8281-5A2E7EEE320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5A7D9A44-D64C-4D5A-B183-958220A4996C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34F8A2C-8776-4D1A-93D7-4590C0622121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F91CB2CF-6B6F-48D5-8365-33EC34BA80A0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4458D058-1610-4C89-9349-E009140E28F5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35743F61-B1FA-44F3-81EC-3FF4A1864B3B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46A99D48-7BDC-4896-BBA2-67770AABD231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3B3F7266-53C6-4879-8513-A4486B8FC303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1465021D-7CFB-4445-8798-684D88150AE5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1F2AFDE6-7C63-49EA-B242-2927A8B9902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D252C539-DDC5-412A-AD14-69BA4ED96AF5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A6D93BA2-F008-40E1-825E-6CF327EC92DA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ED2E7C4B-6367-42C3-B536-906DE4FD552D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6A78576E-5C4A-48E5-B281-76308E82DB77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C1B39927-09E1-467A-8149-FE7A19A30F66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DC32B564-C1C7-4C1A-8066-81D90765D42D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31267B10-9154-4C28-9140-3AF5C2021E44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290F9B9-A40C-41F9-B489-C1D87E71C101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Speaker Name">
            <a:extLst>
              <a:ext uri="{FF2B5EF4-FFF2-40B4-BE49-F238E27FC236}">
                <a16:creationId xmlns:a16="http://schemas.microsoft.com/office/drawing/2014/main" id="{88104DA9-6CD2-4C4F-A6AE-C5D0CD6E01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Name</a:t>
            </a:r>
          </a:p>
        </p:txBody>
      </p:sp>
      <p:sp>
        <p:nvSpPr>
          <p:cNvPr id="37" name="Text Placeholder 128">
            <a:extLst>
              <a:ext uri="{FF2B5EF4-FFF2-40B4-BE49-F238E27FC236}">
                <a16:creationId xmlns:a16="http://schemas.microsoft.com/office/drawing/2014/main" id="{69D5EB8D-3B85-4059-8F34-4BFB6D0DED4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 dirty="0"/>
              <a:t>YYYY.MM.DD</a:t>
            </a:r>
          </a:p>
        </p:txBody>
      </p:sp>
      <p:sp>
        <p:nvSpPr>
          <p:cNvPr id="38" name="Speaker Title">
            <a:extLst>
              <a:ext uri="{FF2B5EF4-FFF2-40B4-BE49-F238E27FC236}">
                <a16:creationId xmlns:a16="http://schemas.microsoft.com/office/drawing/2014/main" id="{0D9078F8-E937-4EF3-AC9B-A84856FA948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Title / Company Name</a:t>
            </a:r>
          </a:p>
        </p:txBody>
      </p:sp>
      <p:sp>
        <p:nvSpPr>
          <p:cNvPr id="31" name="Title">
            <a:extLst>
              <a:ext uri="{FF2B5EF4-FFF2-40B4-BE49-F238E27FC236}">
                <a16:creationId xmlns:a16="http://schemas.microsoft.com/office/drawing/2014/main" id="{7A92962A-B660-43F3-9C7C-C1CD756ED7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1456875"/>
            <a:ext cx="9372600" cy="1336928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 dirty="0"/>
              <a:t>Title Slide Layou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FC49378-BFD9-43A8-8DB2-52BE426047C8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3878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04A056E-0A81-49A4-A1E8-EC8E2D83F6A9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447"/>
            <a:ext cx="12192000" cy="6857107"/>
          </a:xfrm>
          <a:solidFill>
            <a:schemeClr val="bg1">
              <a:lumMod val="85000"/>
            </a:schemeClr>
          </a:solidFill>
        </p:spPr>
        <p:txBody>
          <a:bodyPr bIns="640080" anchor="ctr"/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below to insert a picture</a:t>
            </a:r>
          </a:p>
        </p:txBody>
      </p:sp>
    </p:spTree>
    <p:extLst>
      <p:ext uri="{BB962C8B-B14F-4D97-AF65-F5344CB8AC3E}">
        <p14:creationId xmlns:p14="http://schemas.microsoft.com/office/powerpoint/2010/main" val="42518026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Mosa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F06E54C9-A448-4577-8FFC-86B9235556E4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49261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750D041D-3D23-45A0-B825-F6942FB33899}"/>
              </a:ext>
            </a:extLst>
          </p:cNvPr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49261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A34408D2-7305-44BD-88E2-4782253029F6}"/>
              </a:ext>
            </a:extLst>
          </p:cNvPr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449261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AE057395-5D60-4151-A3F4-BD3C26F517E0}"/>
              </a:ext>
            </a:extLst>
          </p:cNvPr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2724005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82EC2578-E69B-48E7-9A0D-509C4DCB31EA}"/>
              </a:ext>
            </a:extLst>
          </p:cNvPr>
          <p:cNvSpPr>
            <a:spLocks noGrp="1" noChangeAspect="1"/>
          </p:cNvSpPr>
          <p:nvPr>
            <p:ph type="pic" sz="quarter" idx="32" hasCustomPrompt="1"/>
          </p:nvPr>
        </p:nvSpPr>
        <p:spPr>
          <a:xfrm>
            <a:off x="2724005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7D0D4746-2A3C-4008-AE56-9C971679424A}"/>
              </a:ext>
            </a:extLst>
          </p:cNvPr>
          <p:cNvSpPr>
            <a:spLocks noGrp="1" noChangeAspect="1"/>
          </p:cNvSpPr>
          <p:nvPr>
            <p:ph type="pic" sz="quarter" idx="33" hasCustomPrompt="1"/>
          </p:nvPr>
        </p:nvSpPr>
        <p:spPr>
          <a:xfrm>
            <a:off x="2724005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FCA5D73-8894-4E23-A184-A54E0EC5A0EE}"/>
              </a:ext>
            </a:extLst>
          </p:cNvPr>
          <p:cNvSpPr>
            <a:spLocks noGrp="1" noChangeAspect="1"/>
          </p:cNvSpPr>
          <p:nvPr>
            <p:ph type="pic" sz="quarter" idx="34" hasCustomPrompt="1"/>
          </p:nvPr>
        </p:nvSpPr>
        <p:spPr>
          <a:xfrm>
            <a:off x="499874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6ACBD5C3-DCFC-4051-9545-03D3162522D6}"/>
              </a:ext>
            </a:extLst>
          </p:cNvPr>
          <p:cNvSpPr>
            <a:spLocks noGrp="1" noChangeAspect="1"/>
          </p:cNvSpPr>
          <p:nvPr>
            <p:ph type="pic" sz="quarter" idx="35" hasCustomPrompt="1"/>
          </p:nvPr>
        </p:nvSpPr>
        <p:spPr>
          <a:xfrm>
            <a:off x="499874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1A66F51C-4B75-45D7-A374-BEBFC16F4525}"/>
              </a:ext>
            </a:extLst>
          </p:cNvPr>
          <p:cNvSpPr>
            <a:spLocks noGrp="1" noChangeAspect="1"/>
          </p:cNvSpPr>
          <p:nvPr>
            <p:ph type="pic" sz="quarter" idx="36" hasCustomPrompt="1"/>
          </p:nvPr>
        </p:nvSpPr>
        <p:spPr>
          <a:xfrm>
            <a:off x="499874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892A4E8F-9D23-4A3B-9CF3-6E98766A0FC3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7273493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F7C4C030-205C-4BEE-910F-AE86E4049451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7273493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FC23546C-CAC0-4FD6-8C62-1F4F217EC83D}"/>
              </a:ext>
            </a:extLst>
          </p:cNvPr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7273493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084AFB79-D26E-4F3D-8A40-6D479CF90DB0}"/>
              </a:ext>
            </a:extLst>
          </p:cNvPr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9548239" y="1975474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897A7121-A588-46B7-AF5B-FDF684B00905}"/>
              </a:ext>
            </a:extLst>
          </p:cNvPr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9548239" y="3289305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6" name="Picture Placeholder 3">
            <a:extLst>
              <a:ext uri="{FF2B5EF4-FFF2-40B4-BE49-F238E27FC236}">
                <a16:creationId xmlns:a16="http://schemas.microsoft.com/office/drawing/2014/main" id="{89C5946B-4047-4FB3-AC49-D0F9A0F37808}"/>
              </a:ext>
            </a:extLst>
          </p:cNvPr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9548239" y="4603136"/>
            <a:ext cx="2194560" cy="1234440"/>
          </a:xfrm>
          <a:solidFill>
            <a:schemeClr val="bg1">
              <a:lumMod val="85000"/>
            </a:schemeClr>
          </a:solidFill>
        </p:spPr>
        <p:txBody>
          <a:bodyPr vert="horz" lIns="0" tIns="0" rIns="0" bIns="548640" rtlCol="0" anchor="ctr">
            <a:noAutofit/>
          </a:bodyPr>
          <a:lstStyle>
            <a:lvl1pPr marL="0" indent="0" algn="ctr">
              <a:buNone/>
              <a:defRPr lang="en-US" sz="18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Pic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DC077E-289F-4AAE-B3F6-9B318C828A23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F4F685A-9886-45FB-8B04-AB8597A67C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Photo Mosaic Layout</a:t>
            </a:r>
          </a:p>
        </p:txBody>
      </p:sp>
    </p:spTree>
    <p:extLst>
      <p:ext uri="{BB962C8B-B14F-4D97-AF65-F5344CB8AC3E}">
        <p14:creationId xmlns:p14="http://schemas.microsoft.com/office/powerpoint/2010/main" val="23448118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CE3183E7-4A32-4F91-8AF8-C43C846072F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76819" y="5140292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76819" y="4734027"/>
            <a:ext cx="3248006" cy="4062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2" name="Quote">
            <a:extLst>
              <a:ext uri="{FF2B5EF4-FFF2-40B4-BE49-F238E27FC236}">
                <a16:creationId xmlns:a16="http://schemas.microsoft.com/office/drawing/2014/main" id="{86824591-1B5F-489A-9593-4CEFC4B3EE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6819" y="1454532"/>
            <a:ext cx="8636427" cy="327949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lIns="182880" tIns="91440" rIns="182880" bIns="91440" rtlCol="0" anchor="t">
            <a:noAutofit/>
          </a:bodyPr>
          <a:lstStyle>
            <a:lvl1pPr>
              <a:lnSpc>
                <a:spcPct val="100000"/>
              </a:lnSpc>
              <a:defRPr lang="en-US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 dirty="0"/>
              <a:t>Quote layout.</a:t>
            </a:r>
          </a:p>
        </p:txBody>
      </p:sp>
      <p:grpSp>
        <p:nvGrpSpPr>
          <p:cNvPr id="22" name="Quote_Box">
            <a:extLst>
              <a:ext uri="{FF2B5EF4-FFF2-40B4-BE49-F238E27FC236}">
                <a16:creationId xmlns:a16="http://schemas.microsoft.com/office/drawing/2014/main" id="{16644DA2-FD5C-4132-871A-2F4CC3B9C32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27850" y="1454532"/>
            <a:ext cx="648005" cy="648005"/>
            <a:chOff x="1127850" y="1457847"/>
            <a:chExt cx="648005" cy="648005"/>
          </a:xfrm>
        </p:grpSpPr>
        <p:sp>
          <p:nvSpPr>
            <p:cNvPr id="23" name="Quote_Box">
              <a:extLst>
                <a:ext uri="{FF2B5EF4-FFF2-40B4-BE49-F238E27FC236}">
                  <a16:creationId xmlns:a16="http://schemas.microsoft.com/office/drawing/2014/main" id="{F8742923-446F-4F3E-A318-7D750E032EAE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24" name="Icon">
              <a:extLst>
                <a:ext uri="{FF2B5EF4-FFF2-40B4-BE49-F238E27FC236}">
                  <a16:creationId xmlns:a16="http://schemas.microsoft.com/office/drawing/2014/main" id="{64D02E25-A2AE-488C-8479-BFF4596F0CD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DB22BC-764C-491D-888B-64DE8D2F75F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3BF195AF-9651-4702-B588-B7C0FCFE2DB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27" name="Logo">
            <a:extLst>
              <a:ext uri="{FF2B5EF4-FFF2-40B4-BE49-F238E27FC236}">
                <a16:creationId xmlns:a16="http://schemas.microsoft.com/office/drawing/2014/main" id="{D793CBCB-9D3E-4FB2-9244-94F5FE9EB03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5CA6D27F-C163-4B78-8C9F-63F81E7A86B3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2CF469B8-42CE-43E7-A089-ED56DA2D857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957913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0038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0038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00383" y="1630264"/>
            <a:ext cx="507306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wo quote layout.</a:t>
            </a:r>
          </a:p>
        </p:txBody>
      </p:sp>
      <p:grpSp>
        <p:nvGrpSpPr>
          <p:cNvPr id="106" name="Quote_Box">
            <a:extLst>
              <a:ext uri="{FF2B5EF4-FFF2-40B4-BE49-F238E27FC236}">
                <a16:creationId xmlns:a16="http://schemas.microsoft.com/office/drawing/2014/main" id="{ABCF5F15-1C99-4B5F-A62C-06821A1D013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300383" y="1115459"/>
            <a:ext cx="509542" cy="509542"/>
            <a:chOff x="1127850" y="1457847"/>
            <a:chExt cx="648005" cy="648005"/>
          </a:xfrm>
        </p:grpSpPr>
        <p:sp>
          <p:nvSpPr>
            <p:cNvPr id="107" name="Quote_Box">
              <a:extLst>
                <a:ext uri="{FF2B5EF4-FFF2-40B4-BE49-F238E27FC236}">
                  <a16:creationId xmlns:a16="http://schemas.microsoft.com/office/drawing/2014/main" id="{BBFBCDF7-264A-4503-9A4A-3935E8AFA29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108" name="Icon">
              <a:extLst>
                <a:ext uri="{FF2B5EF4-FFF2-40B4-BE49-F238E27FC236}">
                  <a16:creationId xmlns:a16="http://schemas.microsoft.com/office/drawing/2014/main" id="{D21F579F-48BF-483D-8137-FE8CA23EA9A1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/>
            </a:p>
          </p:txBody>
        </p:sp>
      </p:grp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7111" y="1630264"/>
            <a:ext cx="506985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defRPr sz="20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wo quote layout.</a:t>
            </a:r>
          </a:p>
        </p:txBody>
      </p:sp>
      <p:grpSp>
        <p:nvGrpSpPr>
          <p:cNvPr id="7" name="Quote_Box">
            <a:extLst>
              <a:ext uri="{FF2B5EF4-FFF2-40B4-BE49-F238E27FC236}">
                <a16:creationId xmlns:a16="http://schemas.microsoft.com/office/drawing/2014/main" id="{9668343F-8517-4F28-87DB-A2A07E8FB7E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7112" y="1115459"/>
            <a:ext cx="509542" cy="509542"/>
            <a:chOff x="1127850" y="1457847"/>
            <a:chExt cx="648005" cy="648005"/>
          </a:xfrm>
        </p:grpSpPr>
        <p:sp>
          <p:nvSpPr>
            <p:cNvPr id="36" name="Quote_Box">
              <a:extLst>
                <a:ext uri="{FF2B5EF4-FFF2-40B4-BE49-F238E27FC236}">
                  <a16:creationId xmlns:a16="http://schemas.microsoft.com/office/drawing/2014/main" id="{42E56F5C-3AEB-4DE3-8888-7B24F0EA4953}"/>
                </a:ext>
              </a:extLst>
            </p:cNvPr>
            <p:cNvSpPr/>
            <p:nvPr userDrawn="1"/>
          </p:nvSpPr>
          <p:spPr>
            <a:xfrm>
              <a:off x="1127850" y="1457847"/>
              <a:ext cx="648005" cy="648005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 w="19050">
              <a:solidFill>
                <a:schemeClr val="tx1">
                  <a:lumMod val="75000"/>
                  <a:lumOff val="25000"/>
                </a:schemeClr>
              </a:solidFill>
              <a:miter lim="800000"/>
            </a:ln>
          </p:spPr>
          <p:txBody>
            <a:bodyPr vert="horz" wrap="square" lIns="0" tIns="137160" rIns="0" bIns="137160" rtlCol="0" anchor="ctr">
              <a:noAutofit/>
            </a:bodyPr>
            <a:lstStyle/>
            <a:p>
              <a:pPr marL="285750" lvl="0" indent="-285750" algn="ctr" defTabSz="914400">
                <a:lnSpc>
                  <a:spcPct val="9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endParaRPr lang="en-US" sz="3200" b="1" i="0" cap="all" spc="60" baseline="0" dirty="0">
                <a:solidFill>
                  <a:schemeClr val="accent2"/>
                </a:solidFill>
                <a:latin typeface="+mj-lt"/>
                <a:ea typeface="+mj-ea"/>
                <a:cs typeface="+mj-cs"/>
              </a:endParaRPr>
            </a:p>
          </p:txBody>
        </p:sp>
        <p:sp>
          <p:nvSpPr>
            <p:cNvPr id="6" name="Icon">
              <a:extLst>
                <a:ext uri="{FF2B5EF4-FFF2-40B4-BE49-F238E27FC236}">
                  <a16:creationId xmlns:a16="http://schemas.microsoft.com/office/drawing/2014/main" id="{3DF19E5B-CFF4-45C8-B61A-F63CA122FB99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300876" y="1648350"/>
              <a:ext cx="301952" cy="237744"/>
            </a:xfrm>
            <a:custGeom>
              <a:avLst/>
              <a:gdLst>
                <a:gd name="T0" fmla="*/ 214 w 589"/>
                <a:gd name="T1" fmla="*/ 464 h 464"/>
                <a:gd name="T2" fmla="*/ 0 w 589"/>
                <a:gd name="T3" fmla="*/ 464 h 464"/>
                <a:gd name="T4" fmla="*/ 0 w 589"/>
                <a:gd name="T5" fmla="*/ 310 h 464"/>
                <a:gd name="T6" fmla="*/ 17 w 589"/>
                <a:gd name="T7" fmla="*/ 164 h 464"/>
                <a:gd name="T8" fmla="*/ 77 w 589"/>
                <a:gd name="T9" fmla="*/ 67 h 464"/>
                <a:gd name="T10" fmla="*/ 190 w 589"/>
                <a:gd name="T11" fmla="*/ 0 h 464"/>
                <a:gd name="T12" fmla="*/ 232 w 589"/>
                <a:gd name="T13" fmla="*/ 88 h 464"/>
                <a:gd name="T14" fmla="*/ 140 w 589"/>
                <a:gd name="T15" fmla="*/ 148 h 464"/>
                <a:gd name="T16" fmla="*/ 111 w 589"/>
                <a:gd name="T17" fmla="*/ 249 h 464"/>
                <a:gd name="T18" fmla="*/ 214 w 589"/>
                <a:gd name="T19" fmla="*/ 249 h 464"/>
                <a:gd name="T20" fmla="*/ 214 w 589"/>
                <a:gd name="T21" fmla="*/ 464 h 464"/>
                <a:gd name="T22" fmla="*/ 572 w 589"/>
                <a:gd name="T23" fmla="*/ 464 h 464"/>
                <a:gd name="T24" fmla="*/ 358 w 589"/>
                <a:gd name="T25" fmla="*/ 464 h 464"/>
                <a:gd name="T26" fmla="*/ 358 w 589"/>
                <a:gd name="T27" fmla="*/ 310 h 464"/>
                <a:gd name="T28" fmla="*/ 374 w 589"/>
                <a:gd name="T29" fmla="*/ 163 h 464"/>
                <a:gd name="T30" fmla="*/ 435 w 589"/>
                <a:gd name="T31" fmla="*/ 67 h 464"/>
                <a:gd name="T32" fmla="*/ 548 w 589"/>
                <a:gd name="T33" fmla="*/ 0 h 464"/>
                <a:gd name="T34" fmla="*/ 589 w 589"/>
                <a:gd name="T35" fmla="*/ 88 h 464"/>
                <a:gd name="T36" fmla="*/ 498 w 589"/>
                <a:gd name="T37" fmla="*/ 148 h 464"/>
                <a:gd name="T38" fmla="*/ 468 w 589"/>
                <a:gd name="T39" fmla="*/ 249 h 464"/>
                <a:gd name="T40" fmla="*/ 572 w 589"/>
                <a:gd name="T41" fmla="*/ 249 h 464"/>
                <a:gd name="T42" fmla="*/ 572 w 589"/>
                <a:gd name="T43" fmla="*/ 4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89" h="464">
                  <a:moveTo>
                    <a:pt x="214" y="464"/>
                  </a:moveTo>
                  <a:cubicBezTo>
                    <a:pt x="0" y="464"/>
                    <a:pt x="0" y="464"/>
                    <a:pt x="0" y="464"/>
                  </a:cubicBezTo>
                  <a:cubicBezTo>
                    <a:pt x="0" y="310"/>
                    <a:pt x="0" y="310"/>
                    <a:pt x="0" y="310"/>
                  </a:cubicBezTo>
                  <a:cubicBezTo>
                    <a:pt x="0" y="248"/>
                    <a:pt x="6" y="199"/>
                    <a:pt x="17" y="164"/>
                  </a:cubicBezTo>
                  <a:cubicBezTo>
                    <a:pt x="28" y="128"/>
                    <a:pt x="48" y="96"/>
                    <a:pt x="77" y="67"/>
                  </a:cubicBezTo>
                  <a:cubicBezTo>
                    <a:pt x="107" y="39"/>
                    <a:pt x="144" y="16"/>
                    <a:pt x="190" y="0"/>
                  </a:cubicBezTo>
                  <a:cubicBezTo>
                    <a:pt x="232" y="88"/>
                    <a:pt x="232" y="88"/>
                    <a:pt x="232" y="88"/>
                  </a:cubicBezTo>
                  <a:cubicBezTo>
                    <a:pt x="189" y="103"/>
                    <a:pt x="159" y="123"/>
                    <a:pt x="140" y="148"/>
                  </a:cubicBezTo>
                  <a:cubicBezTo>
                    <a:pt x="122" y="173"/>
                    <a:pt x="112" y="207"/>
                    <a:pt x="111" y="249"/>
                  </a:cubicBezTo>
                  <a:cubicBezTo>
                    <a:pt x="214" y="249"/>
                    <a:pt x="214" y="249"/>
                    <a:pt x="214" y="249"/>
                  </a:cubicBezTo>
                  <a:lnTo>
                    <a:pt x="214" y="464"/>
                  </a:lnTo>
                  <a:close/>
                  <a:moveTo>
                    <a:pt x="572" y="464"/>
                  </a:moveTo>
                  <a:cubicBezTo>
                    <a:pt x="358" y="464"/>
                    <a:pt x="358" y="464"/>
                    <a:pt x="358" y="464"/>
                  </a:cubicBezTo>
                  <a:cubicBezTo>
                    <a:pt x="358" y="310"/>
                    <a:pt x="358" y="310"/>
                    <a:pt x="358" y="310"/>
                  </a:cubicBezTo>
                  <a:cubicBezTo>
                    <a:pt x="358" y="248"/>
                    <a:pt x="363" y="199"/>
                    <a:pt x="374" y="163"/>
                  </a:cubicBezTo>
                  <a:cubicBezTo>
                    <a:pt x="385" y="128"/>
                    <a:pt x="405" y="96"/>
                    <a:pt x="435" y="67"/>
                  </a:cubicBezTo>
                  <a:cubicBezTo>
                    <a:pt x="465" y="39"/>
                    <a:pt x="502" y="16"/>
                    <a:pt x="548" y="0"/>
                  </a:cubicBezTo>
                  <a:cubicBezTo>
                    <a:pt x="589" y="88"/>
                    <a:pt x="589" y="88"/>
                    <a:pt x="589" y="88"/>
                  </a:cubicBezTo>
                  <a:cubicBezTo>
                    <a:pt x="547" y="103"/>
                    <a:pt x="516" y="123"/>
                    <a:pt x="498" y="148"/>
                  </a:cubicBezTo>
                  <a:cubicBezTo>
                    <a:pt x="479" y="173"/>
                    <a:pt x="469" y="207"/>
                    <a:pt x="468" y="249"/>
                  </a:cubicBezTo>
                  <a:cubicBezTo>
                    <a:pt x="572" y="249"/>
                    <a:pt x="572" y="249"/>
                    <a:pt x="572" y="249"/>
                  </a:cubicBezTo>
                  <a:lnTo>
                    <a:pt x="572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5EF5EE-3B70-4DA9-9CA4-B61782592FB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32" name="Slide Number">
            <a:extLst>
              <a:ext uri="{FF2B5EF4-FFF2-40B4-BE49-F238E27FC236}">
                <a16:creationId xmlns:a16="http://schemas.microsoft.com/office/drawing/2014/main" id="{FC713103-2866-494C-A53B-1AB3D87EEA7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3" name="Logo">
            <a:extLst>
              <a:ext uri="{FF2B5EF4-FFF2-40B4-BE49-F238E27FC236}">
                <a16:creationId xmlns:a16="http://schemas.microsoft.com/office/drawing/2014/main" id="{CB047E31-151D-47D0-80D7-E717E2B69221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EEA3A2DC-1140-4EDC-B868-8D42AE958DD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id="{B821CE29-24BB-4400-BA45-0223522B7F77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563301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ure">
            <a:extLst>
              <a:ext uri="{FF2B5EF4-FFF2-40B4-BE49-F238E27FC236}">
                <a16:creationId xmlns:a16="http://schemas.microsoft.com/office/drawing/2014/main" id="{3C95BE6E-96AD-4084-ACEE-7830A9F3263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110" name="Affiliation">
            <a:extLst>
              <a:ext uri="{FF2B5EF4-FFF2-40B4-BE49-F238E27FC236}">
                <a16:creationId xmlns:a16="http://schemas.microsoft.com/office/drawing/2014/main" id="{03391EED-1D97-47E6-8177-6C95A24711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27843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11" name="Name">
            <a:extLst>
              <a:ext uri="{FF2B5EF4-FFF2-40B4-BE49-F238E27FC236}">
                <a16:creationId xmlns:a16="http://schemas.microsoft.com/office/drawing/2014/main" id="{F8ADE435-12F0-4A39-B8D8-C041290A99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127843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15" name="Text Placeholder 9">
            <a:extLst>
              <a:ext uri="{FF2B5EF4-FFF2-40B4-BE49-F238E27FC236}">
                <a16:creationId xmlns:a16="http://schemas.microsoft.com/office/drawing/2014/main" id="{F508999A-BE23-41E9-BBE2-1DC9042691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2784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113" name="Quote_Box">
            <a:extLst>
              <a:ext uri="{FF2B5EF4-FFF2-40B4-BE49-F238E27FC236}">
                <a16:creationId xmlns:a16="http://schemas.microsoft.com/office/drawing/2014/main" id="{63E5C30B-475D-4271-B492-051282960614}"/>
              </a:ext>
            </a:extLst>
          </p:cNvPr>
          <p:cNvSpPr/>
          <p:nvPr userDrawn="1"/>
        </p:nvSpPr>
        <p:spPr>
          <a:xfrm>
            <a:off x="8127844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4" name="Icon">
            <a:extLst>
              <a:ext uri="{FF2B5EF4-FFF2-40B4-BE49-F238E27FC236}">
                <a16:creationId xmlns:a16="http://schemas.microsoft.com/office/drawing/2014/main" id="{6207C573-4A51-45AB-8A2D-1B0EC0E0CF7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8263899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104" name="Affiliation">
            <a:extLst>
              <a:ext uri="{FF2B5EF4-FFF2-40B4-BE49-F238E27FC236}">
                <a16:creationId xmlns:a16="http://schemas.microsoft.com/office/drawing/2014/main" id="{705559C5-878A-4763-8DD2-8E2E436F4B4A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4472940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105" name="Name">
            <a:extLst>
              <a:ext uri="{FF2B5EF4-FFF2-40B4-BE49-F238E27FC236}">
                <a16:creationId xmlns:a16="http://schemas.microsoft.com/office/drawing/2014/main" id="{DF4D4582-8847-4F32-8324-0D3299EDB5AA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4472940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9" name="Text Placeholder 9">
            <a:extLst>
              <a:ext uri="{FF2B5EF4-FFF2-40B4-BE49-F238E27FC236}">
                <a16:creationId xmlns:a16="http://schemas.microsoft.com/office/drawing/2014/main" id="{4097F5C6-326F-4898-9FB9-3FC9B0D6639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4472940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107" name="Quote_Box">
            <a:extLst>
              <a:ext uri="{FF2B5EF4-FFF2-40B4-BE49-F238E27FC236}">
                <a16:creationId xmlns:a16="http://schemas.microsoft.com/office/drawing/2014/main" id="{BBFBCDF7-264A-4503-9A4A-3935E8AFA293}"/>
              </a:ext>
            </a:extLst>
          </p:cNvPr>
          <p:cNvSpPr/>
          <p:nvPr userDrawn="1"/>
        </p:nvSpPr>
        <p:spPr>
          <a:xfrm>
            <a:off x="4471995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8" name="Icon">
            <a:extLst>
              <a:ext uri="{FF2B5EF4-FFF2-40B4-BE49-F238E27FC236}">
                <a16:creationId xmlns:a16="http://schemas.microsoft.com/office/drawing/2014/main" id="{D21F579F-48BF-483D-8137-FE8CA23EA9A1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608050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9" name="Affiliation">
            <a:extLst>
              <a:ext uri="{FF2B5EF4-FFF2-40B4-BE49-F238E27FC236}">
                <a16:creationId xmlns:a16="http://schemas.microsoft.com/office/drawing/2014/main" id="{39EF96E8-8057-43E5-A862-D955F5E6F29D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817111" y="5110903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Title / Company Name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B25ECA0C-C715-4AD0-9C0F-8BF3F52AAC6F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817112" y="4732338"/>
            <a:ext cx="3246120" cy="378565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4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Nam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BDF67FD-4532-4FF0-8E1C-EAC346BA1231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817112" y="1630264"/>
            <a:ext cx="3246120" cy="3102074"/>
          </a:xfrm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lIns="182880" tIns="182880" rIns="182880" bIns="182880">
            <a:noAutofit/>
          </a:bodyPr>
          <a:lstStyle>
            <a:lvl1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0"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spc="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6pPr>
            <a:lvl7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7pPr>
            <a:lvl8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8pPr>
            <a:lvl9pPr inden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defRPr sz="1600" b="1" i="0" cap="none" spc="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9pPr>
          </a:lstStyle>
          <a:p>
            <a:pPr lvl="0"/>
            <a:r>
              <a:rPr lang="en-US" dirty="0"/>
              <a:t>Three quote layout.</a:t>
            </a:r>
          </a:p>
        </p:txBody>
      </p:sp>
      <p:sp>
        <p:nvSpPr>
          <p:cNvPr id="36" name="Quote_Box">
            <a:extLst>
              <a:ext uri="{FF2B5EF4-FFF2-40B4-BE49-F238E27FC236}">
                <a16:creationId xmlns:a16="http://schemas.microsoft.com/office/drawing/2014/main" id="{42E56F5C-3AEB-4DE3-8888-7B24F0EA4953}"/>
              </a:ext>
            </a:extLst>
          </p:cNvPr>
          <p:cNvSpPr/>
          <p:nvPr userDrawn="1"/>
        </p:nvSpPr>
        <p:spPr>
          <a:xfrm>
            <a:off x="817112" y="1115459"/>
            <a:ext cx="509542" cy="509542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137160" rIns="0" bIns="137160" rtlCol="0" anchor="ctr">
            <a:noAutofit/>
          </a:bodyPr>
          <a:lstStyle/>
          <a:p>
            <a:pPr marL="285750" lvl="0" indent="-285750" algn="ctr" defTabSz="914400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sz="3200" b="1" i="0" cap="all" spc="60" baseline="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6" name="Icon">
            <a:extLst>
              <a:ext uri="{FF2B5EF4-FFF2-40B4-BE49-F238E27FC236}">
                <a16:creationId xmlns:a16="http://schemas.microsoft.com/office/drawing/2014/main" id="{3DF19E5B-CFF4-45C8-B61A-F63CA122FB9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53167" y="1265256"/>
            <a:ext cx="237432" cy="186944"/>
          </a:xfrm>
          <a:custGeom>
            <a:avLst/>
            <a:gdLst>
              <a:gd name="T0" fmla="*/ 214 w 589"/>
              <a:gd name="T1" fmla="*/ 464 h 464"/>
              <a:gd name="T2" fmla="*/ 0 w 589"/>
              <a:gd name="T3" fmla="*/ 464 h 464"/>
              <a:gd name="T4" fmla="*/ 0 w 589"/>
              <a:gd name="T5" fmla="*/ 310 h 464"/>
              <a:gd name="T6" fmla="*/ 17 w 589"/>
              <a:gd name="T7" fmla="*/ 164 h 464"/>
              <a:gd name="T8" fmla="*/ 77 w 589"/>
              <a:gd name="T9" fmla="*/ 67 h 464"/>
              <a:gd name="T10" fmla="*/ 190 w 589"/>
              <a:gd name="T11" fmla="*/ 0 h 464"/>
              <a:gd name="T12" fmla="*/ 232 w 589"/>
              <a:gd name="T13" fmla="*/ 88 h 464"/>
              <a:gd name="T14" fmla="*/ 140 w 589"/>
              <a:gd name="T15" fmla="*/ 148 h 464"/>
              <a:gd name="T16" fmla="*/ 111 w 589"/>
              <a:gd name="T17" fmla="*/ 249 h 464"/>
              <a:gd name="T18" fmla="*/ 214 w 589"/>
              <a:gd name="T19" fmla="*/ 249 h 464"/>
              <a:gd name="T20" fmla="*/ 214 w 589"/>
              <a:gd name="T21" fmla="*/ 464 h 464"/>
              <a:gd name="T22" fmla="*/ 572 w 589"/>
              <a:gd name="T23" fmla="*/ 464 h 464"/>
              <a:gd name="T24" fmla="*/ 358 w 589"/>
              <a:gd name="T25" fmla="*/ 464 h 464"/>
              <a:gd name="T26" fmla="*/ 358 w 589"/>
              <a:gd name="T27" fmla="*/ 310 h 464"/>
              <a:gd name="T28" fmla="*/ 374 w 589"/>
              <a:gd name="T29" fmla="*/ 163 h 464"/>
              <a:gd name="T30" fmla="*/ 435 w 589"/>
              <a:gd name="T31" fmla="*/ 67 h 464"/>
              <a:gd name="T32" fmla="*/ 548 w 589"/>
              <a:gd name="T33" fmla="*/ 0 h 464"/>
              <a:gd name="T34" fmla="*/ 589 w 589"/>
              <a:gd name="T35" fmla="*/ 88 h 464"/>
              <a:gd name="T36" fmla="*/ 498 w 589"/>
              <a:gd name="T37" fmla="*/ 148 h 464"/>
              <a:gd name="T38" fmla="*/ 468 w 589"/>
              <a:gd name="T39" fmla="*/ 249 h 464"/>
              <a:gd name="T40" fmla="*/ 572 w 589"/>
              <a:gd name="T41" fmla="*/ 249 h 464"/>
              <a:gd name="T42" fmla="*/ 572 w 589"/>
              <a:gd name="T43" fmla="*/ 4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89" h="464">
                <a:moveTo>
                  <a:pt x="214" y="464"/>
                </a:moveTo>
                <a:cubicBezTo>
                  <a:pt x="0" y="464"/>
                  <a:pt x="0" y="464"/>
                  <a:pt x="0" y="464"/>
                </a:cubicBezTo>
                <a:cubicBezTo>
                  <a:pt x="0" y="310"/>
                  <a:pt x="0" y="310"/>
                  <a:pt x="0" y="310"/>
                </a:cubicBezTo>
                <a:cubicBezTo>
                  <a:pt x="0" y="248"/>
                  <a:pt x="6" y="199"/>
                  <a:pt x="17" y="164"/>
                </a:cubicBezTo>
                <a:cubicBezTo>
                  <a:pt x="28" y="128"/>
                  <a:pt x="48" y="96"/>
                  <a:pt x="77" y="67"/>
                </a:cubicBezTo>
                <a:cubicBezTo>
                  <a:pt x="107" y="39"/>
                  <a:pt x="144" y="16"/>
                  <a:pt x="190" y="0"/>
                </a:cubicBezTo>
                <a:cubicBezTo>
                  <a:pt x="232" y="88"/>
                  <a:pt x="232" y="88"/>
                  <a:pt x="232" y="88"/>
                </a:cubicBezTo>
                <a:cubicBezTo>
                  <a:pt x="189" y="103"/>
                  <a:pt x="159" y="123"/>
                  <a:pt x="140" y="148"/>
                </a:cubicBezTo>
                <a:cubicBezTo>
                  <a:pt x="122" y="173"/>
                  <a:pt x="112" y="207"/>
                  <a:pt x="111" y="249"/>
                </a:cubicBezTo>
                <a:cubicBezTo>
                  <a:pt x="214" y="249"/>
                  <a:pt x="214" y="249"/>
                  <a:pt x="214" y="249"/>
                </a:cubicBezTo>
                <a:lnTo>
                  <a:pt x="214" y="464"/>
                </a:lnTo>
                <a:close/>
                <a:moveTo>
                  <a:pt x="572" y="464"/>
                </a:moveTo>
                <a:cubicBezTo>
                  <a:pt x="358" y="464"/>
                  <a:pt x="358" y="464"/>
                  <a:pt x="358" y="464"/>
                </a:cubicBezTo>
                <a:cubicBezTo>
                  <a:pt x="358" y="310"/>
                  <a:pt x="358" y="310"/>
                  <a:pt x="358" y="310"/>
                </a:cubicBezTo>
                <a:cubicBezTo>
                  <a:pt x="358" y="248"/>
                  <a:pt x="363" y="199"/>
                  <a:pt x="374" y="163"/>
                </a:cubicBezTo>
                <a:cubicBezTo>
                  <a:pt x="385" y="128"/>
                  <a:pt x="405" y="96"/>
                  <a:pt x="435" y="67"/>
                </a:cubicBezTo>
                <a:cubicBezTo>
                  <a:pt x="465" y="39"/>
                  <a:pt x="502" y="16"/>
                  <a:pt x="548" y="0"/>
                </a:cubicBezTo>
                <a:cubicBezTo>
                  <a:pt x="589" y="88"/>
                  <a:pt x="589" y="88"/>
                  <a:pt x="589" y="88"/>
                </a:cubicBezTo>
                <a:cubicBezTo>
                  <a:pt x="547" y="103"/>
                  <a:pt x="516" y="123"/>
                  <a:pt x="498" y="148"/>
                </a:cubicBezTo>
                <a:cubicBezTo>
                  <a:pt x="479" y="173"/>
                  <a:pt x="469" y="207"/>
                  <a:pt x="468" y="249"/>
                </a:cubicBezTo>
                <a:cubicBezTo>
                  <a:pt x="572" y="249"/>
                  <a:pt x="572" y="249"/>
                  <a:pt x="572" y="249"/>
                </a:cubicBezTo>
                <a:lnTo>
                  <a:pt x="572" y="46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09D31E-8183-451E-99A7-97F7D20575CB}"/>
              </a:ext>
            </a:extLst>
          </p:cNvPr>
          <p:cNvSpPr>
            <a:spLocks noGrp="1"/>
          </p:cNvSpPr>
          <p:nvPr userDrawn="1">
            <p:ph type="ftr" sz="quarter" idx="27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37" name="Slide Number">
            <a:extLst>
              <a:ext uri="{FF2B5EF4-FFF2-40B4-BE49-F238E27FC236}">
                <a16:creationId xmlns:a16="http://schemas.microsoft.com/office/drawing/2014/main" id="{64FA7F3B-629E-4994-9D8D-543F3F50EDA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38" name="Logo">
            <a:extLst>
              <a:ext uri="{FF2B5EF4-FFF2-40B4-BE49-F238E27FC236}">
                <a16:creationId xmlns:a16="http://schemas.microsoft.com/office/drawing/2014/main" id="{8D803CD8-0215-4AF5-8112-85A0C960BE0A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39" name="Freeform 5">
              <a:extLst>
                <a:ext uri="{FF2B5EF4-FFF2-40B4-BE49-F238E27FC236}">
                  <a16:creationId xmlns:a16="http://schemas.microsoft.com/office/drawing/2014/main" id="{1FE609AA-87CA-4AAA-86B8-3A5F58ED1C2E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0A9110DB-3204-4593-B863-F03340BAE92A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799194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Statem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ure">
            <a:extLst>
              <a:ext uri="{FF2B5EF4-FFF2-40B4-BE49-F238E27FC236}">
                <a16:creationId xmlns:a16="http://schemas.microsoft.com/office/drawing/2014/main" id="{1E4985FC-C4A1-4C4E-9D8B-E1EF235D555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54FD730-BB81-4C20-B6E9-3E0B048CAC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1463040"/>
            <a:ext cx="11292840" cy="3785616"/>
          </a:xfrm>
        </p:spPr>
        <p:txBody>
          <a:bodyPr anchor="ctr"/>
          <a:lstStyle>
            <a:lvl1pPr algn="ctr">
              <a:lnSpc>
                <a:spcPct val="90000"/>
              </a:lnSpc>
              <a:defRPr lang="en-US" sz="4400" b="1" kern="12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dirty="0"/>
              <a:t>Large statement layout.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9D9AE906-1DB3-4285-A68A-0F8B8AC97C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27E814A0-99D6-40C5-A745-5C658684C0F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7" name="Logo">
            <a:extLst>
              <a:ext uri="{FF2B5EF4-FFF2-40B4-BE49-F238E27FC236}">
                <a16:creationId xmlns:a16="http://schemas.microsoft.com/office/drawing/2014/main" id="{CBA27C52-51B0-46E5-A354-FDA0C0E69C96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0AE504F3-CE1B-4FFA-90CB-0DB30ADE04CC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47EEFBCB-3E60-4B8E-989D-3A4D50513D24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20097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1D815A8-0624-4A10-B1F3-C19B0E2331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09984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ure">
            <a:extLst>
              <a:ext uri="{FF2B5EF4-FFF2-40B4-BE49-F238E27FC236}">
                <a16:creationId xmlns:a16="http://schemas.microsoft.com/office/drawing/2014/main" id="{F2D524AB-E282-4686-B58B-641438DC9B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BBD298B8-A731-40B0-A82D-73E38F5E3C48}"/>
              </a:ext>
            </a:extLst>
          </p:cNvPr>
          <p:cNvSpPr/>
          <p:nvPr userDrawn="1"/>
        </p:nvSpPr>
        <p:spPr>
          <a:xfrm>
            <a:off x="2990868" y="1895475"/>
            <a:ext cx="6496032" cy="2883030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077A18B9-3018-42E0-8877-4E494677B9EC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3757744" y="2807676"/>
            <a:ext cx="4676512" cy="1097280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66A3BF12-9A81-464B-8E0D-17C715D2D57B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5C73C4CA-E0CE-41EC-A841-98AAB5DA8551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133441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" name="GRID">
            <a:extLst>
              <a:ext uri="{FF2B5EF4-FFF2-40B4-BE49-F238E27FC236}">
                <a16:creationId xmlns:a16="http://schemas.microsoft.com/office/drawing/2014/main" id="{B01B4ED1-11E6-4650-B725-EC73B57E4A24}"/>
              </a:ext>
            </a:extLst>
          </p:cNvPr>
          <p:cNvGrpSpPr/>
          <p:nvPr userDrawn="1"/>
        </p:nvGrpSpPr>
        <p:grpSpPr>
          <a:xfrm>
            <a:off x="0" y="-1"/>
            <a:ext cx="12192000" cy="6858001"/>
            <a:chOff x="0" y="-1"/>
            <a:chExt cx="12192000" cy="6858001"/>
          </a:xfrm>
        </p:grpSpPr>
        <p:grpSp>
          <p:nvGrpSpPr>
            <p:cNvPr id="90" name="5-Columns">
              <a:extLst>
                <a:ext uri="{FF2B5EF4-FFF2-40B4-BE49-F238E27FC236}">
                  <a16:creationId xmlns:a16="http://schemas.microsoft.com/office/drawing/2014/main" id="{7FDABA8A-9F63-4CB3-AD6D-E3081FE4A134}"/>
                </a:ext>
              </a:extLst>
            </p:cNvPr>
            <p:cNvGrpSpPr/>
            <p:nvPr userDrawn="1"/>
          </p:nvGrpSpPr>
          <p:grpSpPr>
            <a:xfrm>
              <a:off x="457196" y="6369995"/>
              <a:ext cx="11284638" cy="66775"/>
              <a:chOff x="457196" y="6369995"/>
              <a:chExt cx="11284638" cy="66775"/>
            </a:xfrm>
            <a:solidFill>
              <a:schemeClr val="accent1">
                <a:lumMod val="40000"/>
                <a:lumOff val="60000"/>
                <a:alpha val="35000"/>
              </a:schemeClr>
            </a:solidFill>
          </p:grpSpPr>
          <p:sp>
            <p:nvSpPr>
              <p:cNvPr id="240" name="Rectangle 239">
                <a:extLst>
                  <a:ext uri="{FF2B5EF4-FFF2-40B4-BE49-F238E27FC236}">
                    <a16:creationId xmlns:a16="http://schemas.microsoft.com/office/drawing/2014/main" id="{EB8CCE06-2803-4BC4-8F52-8C22514AAC9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7196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1" name="Rectangle 240">
                <a:extLst>
                  <a:ext uri="{FF2B5EF4-FFF2-40B4-BE49-F238E27FC236}">
                    <a16:creationId xmlns:a16="http://schemas.microsoft.com/office/drawing/2014/main" id="{EFEE6688-BF23-4A0F-B580-67F2EB80DF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757020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2" name="Rectangle 241">
                <a:extLst>
                  <a:ext uri="{FF2B5EF4-FFF2-40B4-BE49-F238E27FC236}">
                    <a16:creationId xmlns:a16="http://schemas.microsoft.com/office/drawing/2014/main" id="{0867ECC9-01B8-4FD0-AA00-DB2A4DF6D45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056844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3" name="Rectangle 242">
                <a:extLst>
                  <a:ext uri="{FF2B5EF4-FFF2-40B4-BE49-F238E27FC236}">
                    <a16:creationId xmlns:a16="http://schemas.microsoft.com/office/drawing/2014/main" id="{0F74219B-904B-4014-A041-38C261EB95B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356668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lvl="0"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44" name="Rectangle 243">
                <a:extLst>
                  <a:ext uri="{FF2B5EF4-FFF2-40B4-BE49-F238E27FC236}">
                    <a16:creationId xmlns:a16="http://schemas.microsoft.com/office/drawing/2014/main" id="{D37F15D0-DE02-4884-B44D-921B5400706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656491" y="6369995"/>
                <a:ext cx="2085343" cy="66775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1" name="Columns">
              <a:extLst>
                <a:ext uri="{FF2B5EF4-FFF2-40B4-BE49-F238E27FC236}">
                  <a16:creationId xmlns:a16="http://schemas.microsoft.com/office/drawing/2014/main" id="{CA147F0F-2720-4D14-BF12-11A0E876C4F5}"/>
                </a:ext>
              </a:extLst>
            </p:cNvPr>
            <p:cNvGrpSpPr/>
            <p:nvPr userDrawn="1"/>
          </p:nvGrpSpPr>
          <p:grpSpPr>
            <a:xfrm>
              <a:off x="450165" y="422030"/>
              <a:ext cx="11291670" cy="5868573"/>
              <a:chOff x="450165" y="422030"/>
              <a:chExt cx="11291670" cy="5868573"/>
            </a:xfrm>
            <a:solidFill>
              <a:schemeClr val="accent1">
                <a:lumMod val="40000"/>
                <a:lumOff val="60000"/>
                <a:alpha val="20000"/>
              </a:schemeClr>
            </a:solidFill>
          </p:grpSpPr>
          <p:sp>
            <p:nvSpPr>
              <p:cNvPr id="228" name="Rectangle 227">
                <a:extLst>
                  <a:ext uri="{FF2B5EF4-FFF2-40B4-BE49-F238E27FC236}">
                    <a16:creationId xmlns:a16="http://schemas.microsoft.com/office/drawing/2014/main" id="{9751839D-CEC1-45BE-9708-DAA3CE5F689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501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29" name="Rectangle 228">
                <a:extLst>
                  <a:ext uri="{FF2B5EF4-FFF2-40B4-BE49-F238E27FC236}">
                    <a16:creationId xmlns:a16="http://schemas.microsoft.com/office/drawing/2014/main" id="{33028180-FC57-41E2-9874-BD949906CC3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40987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0" name="Rectangle 229">
                <a:extLst>
                  <a:ext uri="{FF2B5EF4-FFF2-40B4-BE49-F238E27FC236}">
                    <a16:creationId xmlns:a16="http://schemas.microsoft.com/office/drawing/2014/main" id="{A428A839-7BAF-4979-A0EE-91F40C11FE8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236958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1" name="Rectangle 230">
                <a:extLst>
                  <a:ext uri="{FF2B5EF4-FFF2-40B4-BE49-F238E27FC236}">
                    <a16:creationId xmlns:a16="http://schemas.microsoft.com/office/drawing/2014/main" id="{E8E5B971-2FFF-495D-904E-1754501FCDE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32929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2" name="Rectangle 231">
                <a:extLst>
                  <a:ext uri="{FF2B5EF4-FFF2-40B4-BE49-F238E27FC236}">
                    <a16:creationId xmlns:a16="http://schemas.microsoft.com/office/drawing/2014/main" id="{331A14FD-E4E3-44E8-90C4-63354F192CD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28900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825AFDC6-95BA-4E36-A7E5-2434D0A29B5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524871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D716465D-EE0D-4453-A606-A83F187D3CB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20842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5" name="Rectangle 234">
                <a:extLst>
                  <a:ext uri="{FF2B5EF4-FFF2-40B4-BE49-F238E27FC236}">
                    <a16:creationId xmlns:a16="http://schemas.microsoft.com/office/drawing/2014/main" id="{3DC79EC4-363A-4716-8E58-408C7D981B5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16813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6" name="Rectangle 235">
                <a:extLst>
                  <a:ext uri="{FF2B5EF4-FFF2-40B4-BE49-F238E27FC236}">
                    <a16:creationId xmlns:a16="http://schemas.microsoft.com/office/drawing/2014/main" id="{49FF239A-FB3F-48EE-8991-0EE98B0258B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12784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7" name="Rectangle 236">
                <a:extLst>
                  <a:ext uri="{FF2B5EF4-FFF2-40B4-BE49-F238E27FC236}">
                    <a16:creationId xmlns:a16="http://schemas.microsoft.com/office/drawing/2014/main" id="{942B26A2-737C-48BF-B21F-47EABB25FBE7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08755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8" name="Rectangle 237">
                <a:extLst>
                  <a:ext uri="{FF2B5EF4-FFF2-40B4-BE49-F238E27FC236}">
                    <a16:creationId xmlns:a16="http://schemas.microsoft.com/office/drawing/2014/main" id="{E3076E2C-385C-42BA-8312-8A176F920440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47265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  <p:sp>
            <p:nvSpPr>
              <p:cNvPr id="239" name="Rectangle 238">
                <a:extLst>
                  <a:ext uri="{FF2B5EF4-FFF2-40B4-BE49-F238E27FC236}">
                    <a16:creationId xmlns:a16="http://schemas.microsoft.com/office/drawing/2014/main" id="{9B8902CC-F93D-4AE7-A8DC-25DC91A68DF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1006977" y="422030"/>
                <a:ext cx="734858" cy="586857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fontAlgn="base">
                  <a:lnSpc>
                    <a:spcPct val="9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3667" spc="333" dirty="0">
                    <a:solidFill>
                      <a:prstClr val="white"/>
                    </a:solidFill>
                    <a:latin typeface="Franklin Gothic Book"/>
                  </a:rPr>
                  <a:t> </a:t>
                </a:r>
              </a:p>
            </p:txBody>
          </p:sp>
        </p:grpSp>
        <p:grpSp>
          <p:nvGrpSpPr>
            <p:cNvPr id="92" name="Half-Columns">
              <a:extLst>
                <a:ext uri="{FF2B5EF4-FFF2-40B4-BE49-F238E27FC236}">
                  <a16:creationId xmlns:a16="http://schemas.microsoft.com/office/drawing/2014/main" id="{204B2196-46C3-43E9-B91C-0070561E93CD}"/>
                </a:ext>
              </a:extLst>
            </p:cNvPr>
            <p:cNvGrpSpPr/>
            <p:nvPr userDrawn="1"/>
          </p:nvGrpSpPr>
          <p:grpSpPr>
            <a:xfrm>
              <a:off x="817594" y="422030"/>
              <a:ext cx="10556812" cy="5868573"/>
              <a:chOff x="817594" y="422030"/>
              <a:chExt cx="10556812" cy="5868573"/>
            </a:xfrm>
          </p:grpSpPr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B4C2424A-DAE7-47F5-803E-8B0C3C4C0BE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75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1F10CFA4-C33B-4610-8DB6-2E8EC6F927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77730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EB84BBF9-CCBD-4D1E-9F11-4BC2A4DEC40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73701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1256665B-0348-4F3E-ACD5-FD9756A20BF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9672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61724F5A-484B-49DE-9661-FAACDAE7439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5643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169D8861-3D05-4F47-A6E6-629CBE006E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1614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2AF0C905-F3F8-4655-B2FF-297DA836C0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57585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25C9DF23-3824-4397-B5F3-CA748E2542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53556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4810292C-F27F-4ADA-A818-ED47B4FDC9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9527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0FA31E9E-A1D6-4A1F-A31B-8155BD76393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45498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6" name="Straight Connector 225">
                <a:extLst>
                  <a:ext uri="{FF2B5EF4-FFF2-40B4-BE49-F238E27FC236}">
                    <a16:creationId xmlns:a16="http://schemas.microsoft.com/office/drawing/2014/main" id="{0ADD4CF6-2B17-408C-B1A2-571FACF84D9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414694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7" name="Straight Connector 226">
                <a:extLst>
                  <a:ext uri="{FF2B5EF4-FFF2-40B4-BE49-F238E27FC236}">
                    <a16:creationId xmlns:a16="http://schemas.microsoft.com/office/drawing/2014/main" id="{B1F99D05-254F-46BB-9DB1-7A8273EE2D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374406" y="422030"/>
                <a:ext cx="0" cy="5868573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3" name="Minor-Baselines">
              <a:extLst>
                <a:ext uri="{FF2B5EF4-FFF2-40B4-BE49-F238E27FC236}">
                  <a16:creationId xmlns:a16="http://schemas.microsoft.com/office/drawing/2014/main" id="{98E6344D-0E97-46AD-8557-F3655F4C668A}"/>
                </a:ext>
              </a:extLst>
            </p:cNvPr>
            <p:cNvGrpSpPr/>
            <p:nvPr userDrawn="1"/>
          </p:nvGrpSpPr>
          <p:grpSpPr>
            <a:xfrm>
              <a:off x="0" y="594635"/>
              <a:ext cx="12192000" cy="5523360"/>
              <a:chOff x="0" y="594635"/>
              <a:chExt cx="12192000" cy="5523360"/>
            </a:xfrm>
          </p:grpSpPr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43988CC1-B2D8-45F6-99EB-F0C991951B5A}"/>
                  </a:ext>
                </a:extLst>
              </p:cNvPr>
              <p:cNvCxnSpPr/>
              <p:nvPr userDrawn="1"/>
            </p:nvCxnSpPr>
            <p:spPr>
              <a:xfrm flipH="1">
                <a:off x="0" y="12850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FDC16D86-ECC2-46A0-98AD-FF37E7984488}"/>
                  </a:ext>
                </a:extLst>
              </p:cNvPr>
              <p:cNvCxnSpPr/>
              <p:nvPr userDrawn="1"/>
            </p:nvCxnSpPr>
            <p:spPr>
              <a:xfrm flipH="1">
                <a:off x="0" y="16302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73384F88-CFC2-485A-85E5-BC9A387E70FA}"/>
                  </a:ext>
                </a:extLst>
              </p:cNvPr>
              <p:cNvCxnSpPr/>
              <p:nvPr userDrawn="1"/>
            </p:nvCxnSpPr>
            <p:spPr>
              <a:xfrm flipH="1">
                <a:off x="0" y="19754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A7C0AFBD-D26D-4ADF-A7A4-2C3FA6041EFE}"/>
                  </a:ext>
                </a:extLst>
              </p:cNvPr>
              <p:cNvCxnSpPr/>
              <p:nvPr userDrawn="1"/>
            </p:nvCxnSpPr>
            <p:spPr>
              <a:xfrm flipH="1">
                <a:off x="0" y="23206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DB0F5EF3-3B04-4F24-AAF0-42DB116656FA}"/>
                  </a:ext>
                </a:extLst>
              </p:cNvPr>
              <p:cNvCxnSpPr/>
              <p:nvPr userDrawn="1"/>
            </p:nvCxnSpPr>
            <p:spPr>
              <a:xfrm flipH="1">
                <a:off x="0" y="26658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BCEB7FB8-D33A-40E7-837C-1FA51F98C0D6}"/>
                  </a:ext>
                </a:extLst>
              </p:cNvPr>
              <p:cNvCxnSpPr/>
              <p:nvPr userDrawn="1"/>
            </p:nvCxnSpPr>
            <p:spPr>
              <a:xfrm flipH="1">
                <a:off x="0" y="301110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16B25582-EDFD-47F5-ADFD-07688165CA6C}"/>
                  </a:ext>
                </a:extLst>
              </p:cNvPr>
              <p:cNvCxnSpPr/>
              <p:nvPr userDrawn="1"/>
            </p:nvCxnSpPr>
            <p:spPr>
              <a:xfrm flipH="1">
                <a:off x="0" y="335631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D8EBB482-69CF-40F9-8E45-C88546A14A6E}"/>
                  </a:ext>
                </a:extLst>
              </p:cNvPr>
              <p:cNvCxnSpPr/>
              <p:nvPr userDrawn="1"/>
            </p:nvCxnSpPr>
            <p:spPr>
              <a:xfrm flipH="1">
                <a:off x="0" y="370152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CE2B10BC-DCC9-40B3-82C4-86EB18E49EEC}"/>
                  </a:ext>
                </a:extLst>
              </p:cNvPr>
              <p:cNvCxnSpPr/>
              <p:nvPr userDrawn="1"/>
            </p:nvCxnSpPr>
            <p:spPr>
              <a:xfrm flipH="1">
                <a:off x="0" y="40467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2E5809F8-35AA-4D63-B6C8-44DAA8666405}"/>
                  </a:ext>
                </a:extLst>
              </p:cNvPr>
              <p:cNvCxnSpPr/>
              <p:nvPr userDrawn="1"/>
            </p:nvCxnSpPr>
            <p:spPr>
              <a:xfrm flipH="1">
                <a:off x="0" y="43919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3A46BE4C-4471-46C7-A09E-442332E02E5B}"/>
                  </a:ext>
                </a:extLst>
              </p:cNvPr>
              <p:cNvCxnSpPr/>
              <p:nvPr userDrawn="1"/>
            </p:nvCxnSpPr>
            <p:spPr>
              <a:xfrm flipH="1">
                <a:off x="0" y="473715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52072814-59AF-4554-A7A1-BB6D9C0EED50}"/>
                  </a:ext>
                </a:extLst>
              </p:cNvPr>
              <p:cNvCxnSpPr/>
              <p:nvPr userDrawn="1"/>
            </p:nvCxnSpPr>
            <p:spPr>
              <a:xfrm flipH="1">
                <a:off x="0" y="508236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C32D6D8F-072E-4B53-B77E-DC633C5DA123}"/>
                  </a:ext>
                </a:extLst>
              </p:cNvPr>
              <p:cNvCxnSpPr/>
              <p:nvPr userDrawn="1"/>
            </p:nvCxnSpPr>
            <p:spPr>
              <a:xfrm flipH="1">
                <a:off x="0" y="542757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>
                <a:extLst>
                  <a:ext uri="{FF2B5EF4-FFF2-40B4-BE49-F238E27FC236}">
                    <a16:creationId xmlns:a16="http://schemas.microsoft.com/office/drawing/2014/main" id="{C36E0E73-A5E6-4E43-A3EA-1688EAC87F2E}"/>
                  </a:ext>
                </a:extLst>
              </p:cNvPr>
              <p:cNvCxnSpPr/>
              <p:nvPr userDrawn="1"/>
            </p:nvCxnSpPr>
            <p:spPr>
              <a:xfrm flipH="1">
                <a:off x="0" y="577278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364620E0-5F0B-419B-9A61-2736EE017C27}"/>
                  </a:ext>
                </a:extLst>
              </p:cNvPr>
              <p:cNvCxnSpPr/>
              <p:nvPr userDrawn="1"/>
            </p:nvCxnSpPr>
            <p:spPr>
              <a:xfrm flipH="1">
                <a:off x="0" y="93984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>
                <a:extLst>
                  <a:ext uri="{FF2B5EF4-FFF2-40B4-BE49-F238E27FC236}">
                    <a16:creationId xmlns:a16="http://schemas.microsoft.com/office/drawing/2014/main" id="{3600B6D8-8A6B-4BA6-9922-580E6EF2B022}"/>
                  </a:ext>
                </a:extLst>
              </p:cNvPr>
              <p:cNvCxnSpPr/>
              <p:nvPr userDrawn="1"/>
            </p:nvCxnSpPr>
            <p:spPr>
              <a:xfrm flipH="1">
                <a:off x="0" y="59463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>
                <a:extLst>
                  <a:ext uri="{FF2B5EF4-FFF2-40B4-BE49-F238E27FC236}">
                    <a16:creationId xmlns:a16="http://schemas.microsoft.com/office/drawing/2014/main" id="{779A02F2-15A0-4404-89EA-FD88F74D3901}"/>
                  </a:ext>
                </a:extLst>
              </p:cNvPr>
              <p:cNvCxnSpPr/>
              <p:nvPr userDrawn="1"/>
            </p:nvCxnSpPr>
            <p:spPr>
              <a:xfrm flipH="1">
                <a:off x="0" y="6117995"/>
                <a:ext cx="12192000" cy="0"/>
              </a:xfrm>
              <a:prstGeom prst="line">
                <a:avLst/>
              </a:prstGeom>
              <a:ln w="6350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Major-Baselines">
              <a:extLst>
                <a:ext uri="{FF2B5EF4-FFF2-40B4-BE49-F238E27FC236}">
                  <a16:creationId xmlns:a16="http://schemas.microsoft.com/office/drawing/2014/main" id="{6BF42672-DF70-44F3-B7CA-14A6979B434F}"/>
                </a:ext>
              </a:extLst>
            </p:cNvPr>
            <p:cNvGrpSpPr/>
            <p:nvPr userDrawn="1"/>
          </p:nvGrpSpPr>
          <p:grpSpPr>
            <a:xfrm>
              <a:off x="0" y="767240"/>
              <a:ext cx="12192000" cy="5178150"/>
              <a:chOff x="0" y="767240"/>
              <a:chExt cx="12192000" cy="5178150"/>
            </a:xfrm>
          </p:grpSpPr>
          <p:cxnSp>
            <p:nvCxnSpPr>
              <p:cNvPr id="105" name="Straight Connector 104">
                <a:extLst>
                  <a:ext uri="{FF2B5EF4-FFF2-40B4-BE49-F238E27FC236}">
                    <a16:creationId xmlns:a16="http://schemas.microsoft.com/office/drawing/2014/main" id="{F9CF9ECB-458C-47D9-B4BC-21087E05A585}"/>
                  </a:ext>
                </a:extLst>
              </p:cNvPr>
              <p:cNvCxnSpPr/>
              <p:nvPr/>
            </p:nvCxnSpPr>
            <p:spPr>
              <a:xfrm flipH="1">
                <a:off x="0" y="14576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36C496AA-6375-48D7-856A-D734E8E4CC99}"/>
                  </a:ext>
                </a:extLst>
              </p:cNvPr>
              <p:cNvCxnSpPr/>
              <p:nvPr/>
            </p:nvCxnSpPr>
            <p:spPr>
              <a:xfrm flipH="1">
                <a:off x="0" y="18028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7" name="Straight Connector 106">
                <a:extLst>
                  <a:ext uri="{FF2B5EF4-FFF2-40B4-BE49-F238E27FC236}">
                    <a16:creationId xmlns:a16="http://schemas.microsoft.com/office/drawing/2014/main" id="{08EA394B-F758-47C2-8E09-4C30FE4E9810}"/>
                  </a:ext>
                </a:extLst>
              </p:cNvPr>
              <p:cNvCxnSpPr/>
              <p:nvPr/>
            </p:nvCxnSpPr>
            <p:spPr>
              <a:xfrm flipH="1">
                <a:off x="0" y="21480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Straight Connector 107">
                <a:extLst>
                  <a:ext uri="{FF2B5EF4-FFF2-40B4-BE49-F238E27FC236}">
                    <a16:creationId xmlns:a16="http://schemas.microsoft.com/office/drawing/2014/main" id="{12C99AEE-DED4-4917-B2D7-796AEC3A484F}"/>
                  </a:ext>
                </a:extLst>
              </p:cNvPr>
              <p:cNvCxnSpPr/>
              <p:nvPr/>
            </p:nvCxnSpPr>
            <p:spPr>
              <a:xfrm flipH="1">
                <a:off x="0" y="24932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Straight Connector 108">
                <a:extLst>
                  <a:ext uri="{FF2B5EF4-FFF2-40B4-BE49-F238E27FC236}">
                    <a16:creationId xmlns:a16="http://schemas.microsoft.com/office/drawing/2014/main" id="{9C5D77AD-8508-45AD-834F-CE4F2430EA20}"/>
                  </a:ext>
                </a:extLst>
              </p:cNvPr>
              <p:cNvCxnSpPr/>
              <p:nvPr/>
            </p:nvCxnSpPr>
            <p:spPr>
              <a:xfrm flipH="1">
                <a:off x="0" y="283850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Straight Connector 109">
                <a:extLst>
                  <a:ext uri="{FF2B5EF4-FFF2-40B4-BE49-F238E27FC236}">
                    <a16:creationId xmlns:a16="http://schemas.microsoft.com/office/drawing/2014/main" id="{04E9F12A-A21A-40D7-AC40-55C2530CAAF2}"/>
                  </a:ext>
                </a:extLst>
              </p:cNvPr>
              <p:cNvCxnSpPr/>
              <p:nvPr/>
            </p:nvCxnSpPr>
            <p:spPr>
              <a:xfrm flipH="1">
                <a:off x="0" y="318371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1" name="Straight Connector 110">
                <a:extLst>
                  <a:ext uri="{FF2B5EF4-FFF2-40B4-BE49-F238E27FC236}">
                    <a16:creationId xmlns:a16="http://schemas.microsoft.com/office/drawing/2014/main" id="{E75DAFB1-56AC-4F65-BCF8-63F8201D42F1}"/>
                  </a:ext>
                </a:extLst>
              </p:cNvPr>
              <p:cNvCxnSpPr/>
              <p:nvPr/>
            </p:nvCxnSpPr>
            <p:spPr>
              <a:xfrm flipH="1">
                <a:off x="0" y="352892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Straight Connector 111">
                <a:extLst>
                  <a:ext uri="{FF2B5EF4-FFF2-40B4-BE49-F238E27FC236}">
                    <a16:creationId xmlns:a16="http://schemas.microsoft.com/office/drawing/2014/main" id="{57C01E0A-93E3-4ED0-B575-9CCBF85B5EB0}"/>
                  </a:ext>
                </a:extLst>
              </p:cNvPr>
              <p:cNvCxnSpPr/>
              <p:nvPr/>
            </p:nvCxnSpPr>
            <p:spPr>
              <a:xfrm flipH="1">
                <a:off x="0" y="387413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Straight Connector 112">
                <a:extLst>
                  <a:ext uri="{FF2B5EF4-FFF2-40B4-BE49-F238E27FC236}">
                    <a16:creationId xmlns:a16="http://schemas.microsoft.com/office/drawing/2014/main" id="{D5EB4A7E-05D6-4483-9749-137062ABB64E}"/>
                  </a:ext>
                </a:extLst>
              </p:cNvPr>
              <p:cNvCxnSpPr/>
              <p:nvPr/>
            </p:nvCxnSpPr>
            <p:spPr>
              <a:xfrm flipH="1">
                <a:off x="0" y="42193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Straight Connector 113">
                <a:extLst>
                  <a:ext uri="{FF2B5EF4-FFF2-40B4-BE49-F238E27FC236}">
                    <a16:creationId xmlns:a16="http://schemas.microsoft.com/office/drawing/2014/main" id="{0185FF42-7436-456C-B038-DF7FCC9B86C4}"/>
                  </a:ext>
                </a:extLst>
              </p:cNvPr>
              <p:cNvCxnSpPr/>
              <p:nvPr/>
            </p:nvCxnSpPr>
            <p:spPr>
              <a:xfrm flipH="1">
                <a:off x="0" y="45645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Straight Connector 114">
                <a:extLst>
                  <a:ext uri="{FF2B5EF4-FFF2-40B4-BE49-F238E27FC236}">
                    <a16:creationId xmlns:a16="http://schemas.microsoft.com/office/drawing/2014/main" id="{F71B5F2E-D126-4777-9BB0-A0FAB3F2CAFD}"/>
                  </a:ext>
                </a:extLst>
              </p:cNvPr>
              <p:cNvCxnSpPr/>
              <p:nvPr/>
            </p:nvCxnSpPr>
            <p:spPr>
              <a:xfrm flipH="1">
                <a:off x="0" y="490976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6" name="Straight Connector 115">
                <a:extLst>
                  <a:ext uri="{FF2B5EF4-FFF2-40B4-BE49-F238E27FC236}">
                    <a16:creationId xmlns:a16="http://schemas.microsoft.com/office/drawing/2014/main" id="{00090F01-D3B0-4CC1-B868-3834E45B2BEF}"/>
                  </a:ext>
                </a:extLst>
              </p:cNvPr>
              <p:cNvCxnSpPr/>
              <p:nvPr/>
            </p:nvCxnSpPr>
            <p:spPr>
              <a:xfrm flipH="1">
                <a:off x="0" y="525497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7" name="Straight Connector 116">
                <a:extLst>
                  <a:ext uri="{FF2B5EF4-FFF2-40B4-BE49-F238E27FC236}">
                    <a16:creationId xmlns:a16="http://schemas.microsoft.com/office/drawing/2014/main" id="{B49511C0-4CC6-4C57-BD16-06DFA68C5177}"/>
                  </a:ext>
                </a:extLst>
              </p:cNvPr>
              <p:cNvCxnSpPr/>
              <p:nvPr/>
            </p:nvCxnSpPr>
            <p:spPr>
              <a:xfrm flipH="1">
                <a:off x="0" y="560018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823DBF0E-1AA8-4FBC-BFCF-C35A665C6AAD}"/>
                  </a:ext>
                </a:extLst>
              </p:cNvPr>
              <p:cNvCxnSpPr/>
              <p:nvPr/>
            </p:nvCxnSpPr>
            <p:spPr>
              <a:xfrm flipH="1">
                <a:off x="0" y="594539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16F927AE-A157-4A95-BD1F-5D4003848AE5}"/>
                  </a:ext>
                </a:extLst>
              </p:cNvPr>
              <p:cNvCxnSpPr/>
              <p:nvPr/>
            </p:nvCxnSpPr>
            <p:spPr>
              <a:xfrm flipH="1">
                <a:off x="0" y="111245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AF1893BF-3A5C-45A7-80A6-F95888D2C2E9}"/>
                  </a:ext>
                </a:extLst>
              </p:cNvPr>
              <p:cNvCxnSpPr/>
              <p:nvPr/>
            </p:nvCxnSpPr>
            <p:spPr>
              <a:xfrm flipH="1">
                <a:off x="0" y="767240"/>
                <a:ext cx="12192000" cy="0"/>
              </a:xfrm>
              <a:prstGeom prst="line">
                <a:avLst/>
              </a:prstGeom>
              <a:ln w="9525">
                <a:solidFill>
                  <a:schemeClr val="accent2">
                    <a:lumMod val="40000"/>
                    <a:lumOff val="60000"/>
                    <a:alpha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Margins">
              <a:extLst>
                <a:ext uri="{FF2B5EF4-FFF2-40B4-BE49-F238E27FC236}">
                  <a16:creationId xmlns:a16="http://schemas.microsoft.com/office/drawing/2014/main" id="{1987983C-C65D-47F1-8B52-9BB74C6156DF}"/>
                </a:ext>
              </a:extLst>
            </p:cNvPr>
            <p:cNvGrpSpPr/>
            <p:nvPr userDrawn="1"/>
          </p:nvGrpSpPr>
          <p:grpSpPr>
            <a:xfrm>
              <a:off x="0" y="-1"/>
              <a:ext cx="12192000" cy="6858001"/>
              <a:chOff x="0" y="-1"/>
              <a:chExt cx="12192000" cy="6858001"/>
            </a:xfrm>
          </p:grpSpPr>
          <p:grpSp>
            <p:nvGrpSpPr>
              <p:cNvPr id="96" name="Group 95">
                <a:extLst>
                  <a:ext uri="{FF2B5EF4-FFF2-40B4-BE49-F238E27FC236}">
                    <a16:creationId xmlns:a16="http://schemas.microsoft.com/office/drawing/2014/main" id="{2D64F71A-57E0-44C6-B31D-7B42B82DD2CE}"/>
                  </a:ext>
                </a:extLst>
              </p:cNvPr>
              <p:cNvGrpSpPr/>
              <p:nvPr userDrawn="1"/>
            </p:nvGrpSpPr>
            <p:grpSpPr>
              <a:xfrm>
                <a:off x="450166" y="-1"/>
                <a:ext cx="11291668" cy="6858001"/>
                <a:chOff x="450166" y="-295422"/>
                <a:chExt cx="11291668" cy="7491047"/>
              </a:xfrm>
            </p:grpSpPr>
            <p:cxnSp>
              <p:nvCxnSpPr>
                <p:cNvPr id="103" name="Straight Connector 102">
                  <a:extLst>
                    <a:ext uri="{FF2B5EF4-FFF2-40B4-BE49-F238E27FC236}">
                      <a16:creationId xmlns:a16="http://schemas.microsoft.com/office/drawing/2014/main" id="{7D8CFD01-2438-4217-AA3E-AC3BA160D143}"/>
                    </a:ext>
                  </a:extLst>
                </p:cNvPr>
                <p:cNvCxnSpPr/>
                <p:nvPr/>
              </p:nvCxnSpPr>
              <p:spPr>
                <a:xfrm>
                  <a:off x="450166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>
                  <a:extLst>
                    <a:ext uri="{FF2B5EF4-FFF2-40B4-BE49-F238E27FC236}">
                      <a16:creationId xmlns:a16="http://schemas.microsoft.com/office/drawing/2014/main" id="{09FDB0BB-10D1-469E-A843-451C93653F0B}"/>
                    </a:ext>
                  </a:extLst>
                </p:cNvPr>
                <p:cNvCxnSpPr/>
                <p:nvPr/>
              </p:nvCxnSpPr>
              <p:spPr>
                <a:xfrm>
                  <a:off x="11741834" y="-295422"/>
                  <a:ext cx="0" cy="7491047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23DA59C4-54B1-44E7-8615-E9D3B756CD6D}"/>
                  </a:ext>
                </a:extLst>
              </p:cNvPr>
              <p:cNvGrpSpPr/>
              <p:nvPr userDrawn="1"/>
            </p:nvGrpSpPr>
            <p:grpSpPr>
              <a:xfrm>
                <a:off x="0" y="422030"/>
                <a:ext cx="12192000" cy="5868573"/>
                <a:chOff x="0" y="422030"/>
                <a:chExt cx="12192000" cy="5868573"/>
              </a:xfrm>
            </p:grpSpPr>
            <p:cxnSp>
              <p:nvCxnSpPr>
                <p:cNvPr id="101" name="Straight Connector 100">
                  <a:extLst>
                    <a:ext uri="{FF2B5EF4-FFF2-40B4-BE49-F238E27FC236}">
                      <a16:creationId xmlns:a16="http://schemas.microsoft.com/office/drawing/2014/main" id="{25110C17-BFAC-419F-917B-35541EA792A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42203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Connector 101">
                  <a:extLst>
                    <a:ext uri="{FF2B5EF4-FFF2-40B4-BE49-F238E27FC236}">
                      <a16:creationId xmlns:a16="http://schemas.microsoft.com/office/drawing/2014/main" id="{C9E58F6F-92A5-473B-9FED-3D90ECE09E5D}"/>
                    </a:ext>
                  </a:extLst>
                </p:cNvPr>
                <p:cNvCxnSpPr/>
                <p:nvPr userDrawn="1"/>
              </p:nvCxnSpPr>
              <p:spPr>
                <a:xfrm>
                  <a:off x="0" y="6290603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D0BD5319-1193-4438-BF01-B64CF6D0D212}"/>
                  </a:ext>
                </a:extLst>
              </p:cNvPr>
              <p:cNvGrpSpPr/>
              <p:nvPr userDrawn="1"/>
            </p:nvGrpSpPr>
            <p:grpSpPr>
              <a:xfrm>
                <a:off x="0" y="1457660"/>
                <a:ext cx="12192000" cy="345210"/>
                <a:chOff x="0" y="1457660"/>
                <a:chExt cx="12192000" cy="345210"/>
              </a:xfrm>
            </p:grpSpPr>
            <p:cxnSp>
              <p:nvCxnSpPr>
                <p:cNvPr id="99" name="Straight Connector 98">
                  <a:extLst>
                    <a:ext uri="{FF2B5EF4-FFF2-40B4-BE49-F238E27FC236}">
                      <a16:creationId xmlns:a16="http://schemas.microsoft.com/office/drawing/2014/main" id="{ED443DF1-4231-4D92-8DA5-C1F4B954AFC4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45766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99">
                  <a:extLst>
                    <a:ext uri="{FF2B5EF4-FFF2-40B4-BE49-F238E27FC236}">
                      <a16:creationId xmlns:a16="http://schemas.microsoft.com/office/drawing/2014/main" id="{14C68D45-D4C2-497B-A9FF-6ADE11C36C5D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0" y="1802870"/>
                  <a:ext cx="12192000" cy="0"/>
                </a:xfrm>
                <a:prstGeom prst="line">
                  <a:avLst/>
                </a:prstGeom>
                <a:ln w="9525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12471491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ure">
            <a:extLst>
              <a:ext uri="{FF2B5EF4-FFF2-40B4-BE49-F238E27FC236}">
                <a16:creationId xmlns:a16="http://schemas.microsoft.com/office/drawing/2014/main" id="{B43DC9BF-B86E-41C3-9025-257603C6C46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03C20BBD-F2FD-4A4D-B556-572D7207BCE8}"/>
              </a:ext>
            </a:extLst>
          </p:cNvPr>
          <p:cNvSpPr/>
          <p:nvPr userDrawn="1"/>
        </p:nvSpPr>
        <p:spPr>
          <a:xfrm>
            <a:off x="3555406" y="4109059"/>
            <a:ext cx="5169494" cy="1434491"/>
          </a:xfrm>
          <a:prstGeom prst="ellipse">
            <a:avLst/>
          </a:prstGeom>
          <a:gradFill flip="none" rotWithShape="1">
            <a:gsLst>
              <a:gs pos="55000">
                <a:schemeClr val="bg1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grpSp>
        <p:nvGrpSpPr>
          <p:cNvPr id="34" name="Logo">
            <a:extLst>
              <a:ext uri="{FF2B5EF4-FFF2-40B4-BE49-F238E27FC236}">
                <a16:creationId xmlns:a16="http://schemas.microsoft.com/office/drawing/2014/main" id="{E3F269C9-4FA8-4772-AD37-31EE93FFE599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5258125" y="4703638"/>
            <a:ext cx="1675750" cy="393192"/>
            <a:chOff x="1231901" y="5359401"/>
            <a:chExt cx="11210925" cy="2630487"/>
          </a:xfrm>
        </p:grpSpPr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09D9C9E1-25E5-483A-B7BC-660D3D3BFE4F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98453535-0FA3-4BC2-896D-B75809B1977B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7" name="Ruler">
            <a:extLst>
              <a:ext uri="{FF2B5EF4-FFF2-40B4-BE49-F238E27FC236}">
                <a16:creationId xmlns:a16="http://schemas.microsoft.com/office/drawing/2014/main" id="{70E5BD5C-60C7-4101-99EB-CFC9224AD7B1}"/>
              </a:ext>
            </a:extLst>
          </p:cNvPr>
          <p:cNvGrpSpPr/>
          <p:nvPr userDrawn="1"/>
        </p:nvGrpSpPr>
        <p:grpSpPr>
          <a:xfrm>
            <a:off x="5273041" y="4219340"/>
            <a:ext cx="1645920" cy="339946"/>
            <a:chOff x="5273041" y="4219340"/>
            <a:chExt cx="1645920" cy="339946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2B101E02-F838-4187-B559-8AAE85AB8E2C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3" y="4219340"/>
              <a:ext cx="0" cy="33994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704FBA9-913D-4B32-AC77-21FE53C07630}"/>
                </a:ext>
              </a:extLst>
            </p:cNvPr>
            <p:cNvCxnSpPr/>
            <p:nvPr/>
          </p:nvCxnSpPr>
          <p:spPr>
            <a:xfrm>
              <a:off x="527304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F7620BDF-DEE5-4359-9427-F80C2D3B2F2A}"/>
                </a:ext>
              </a:extLst>
            </p:cNvPr>
            <p:cNvCxnSpPr/>
            <p:nvPr/>
          </p:nvCxnSpPr>
          <p:spPr>
            <a:xfrm>
              <a:off x="5364485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609FFEF8-C551-442A-BFBE-82B27BAA70D4}"/>
                </a:ext>
              </a:extLst>
            </p:cNvPr>
            <p:cNvCxnSpPr/>
            <p:nvPr/>
          </p:nvCxnSpPr>
          <p:spPr>
            <a:xfrm>
              <a:off x="545592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030E7191-0FEE-4B6B-AAE0-7E6505AAFF96}"/>
                </a:ext>
              </a:extLst>
            </p:cNvPr>
            <p:cNvCxnSpPr/>
            <p:nvPr/>
          </p:nvCxnSpPr>
          <p:spPr>
            <a:xfrm>
              <a:off x="5547364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E0B20760-2C74-490B-8779-0A3CEC331376}"/>
                </a:ext>
              </a:extLst>
            </p:cNvPr>
            <p:cNvCxnSpPr/>
            <p:nvPr/>
          </p:nvCxnSpPr>
          <p:spPr>
            <a:xfrm>
              <a:off x="563880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2C7CD8C-10E9-4C4D-AF46-8EAA7E7B84D7}"/>
                </a:ext>
              </a:extLst>
            </p:cNvPr>
            <p:cNvCxnSpPr/>
            <p:nvPr/>
          </p:nvCxnSpPr>
          <p:spPr>
            <a:xfrm>
              <a:off x="5730244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1A9DBD41-B998-4B1C-A2AD-746277984ECF}"/>
                </a:ext>
              </a:extLst>
            </p:cNvPr>
            <p:cNvCxnSpPr/>
            <p:nvPr/>
          </p:nvCxnSpPr>
          <p:spPr>
            <a:xfrm>
              <a:off x="5821684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80011DFB-F9A6-4F90-A169-06A40F2D4491}"/>
                </a:ext>
              </a:extLst>
            </p:cNvPr>
            <p:cNvCxnSpPr/>
            <p:nvPr/>
          </p:nvCxnSpPr>
          <p:spPr>
            <a:xfrm>
              <a:off x="5913123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>
              <a:extLst>
                <a:ext uri="{FF2B5EF4-FFF2-40B4-BE49-F238E27FC236}">
                  <a16:creationId xmlns:a16="http://schemas.microsoft.com/office/drawing/2014/main" id="{1FCB742D-4AAE-446A-95AF-D86CE705B38D}"/>
                </a:ext>
              </a:extLst>
            </p:cNvPr>
            <p:cNvCxnSpPr/>
            <p:nvPr/>
          </p:nvCxnSpPr>
          <p:spPr>
            <a:xfrm>
              <a:off x="600456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A3622024-A6FB-4862-AAA9-378E17CB2F65}"/>
                </a:ext>
              </a:extLst>
            </p:cNvPr>
            <p:cNvCxnSpPr/>
            <p:nvPr/>
          </p:nvCxnSpPr>
          <p:spPr>
            <a:xfrm>
              <a:off x="6187443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0DDF8BE4-F228-4207-9F16-38714201F036}"/>
                </a:ext>
              </a:extLst>
            </p:cNvPr>
            <p:cNvCxnSpPr/>
            <p:nvPr/>
          </p:nvCxnSpPr>
          <p:spPr>
            <a:xfrm>
              <a:off x="627888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0F0D7718-987E-4A31-88D8-257BD9D16439}"/>
                </a:ext>
              </a:extLst>
            </p:cNvPr>
            <p:cNvCxnSpPr/>
            <p:nvPr/>
          </p:nvCxnSpPr>
          <p:spPr>
            <a:xfrm>
              <a:off x="637032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E1895AC8-2DE9-4C57-9175-D6619461AA6A}"/>
                </a:ext>
              </a:extLst>
            </p:cNvPr>
            <p:cNvCxnSpPr/>
            <p:nvPr/>
          </p:nvCxnSpPr>
          <p:spPr>
            <a:xfrm>
              <a:off x="6461762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615B7B8D-36D9-46DB-BDD6-8D7FCA31766A}"/>
                </a:ext>
              </a:extLst>
            </p:cNvPr>
            <p:cNvCxnSpPr/>
            <p:nvPr/>
          </p:nvCxnSpPr>
          <p:spPr>
            <a:xfrm>
              <a:off x="6553202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381AF8FD-CBB7-47C3-92D4-68F412B850C3}"/>
                </a:ext>
              </a:extLst>
            </p:cNvPr>
            <p:cNvCxnSpPr/>
            <p:nvPr/>
          </p:nvCxnSpPr>
          <p:spPr>
            <a:xfrm>
              <a:off x="6644642" y="4391160"/>
              <a:ext cx="0" cy="168126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075397F3-9A79-4A57-9C34-2D06B47E2F34}"/>
                </a:ext>
              </a:extLst>
            </p:cNvPr>
            <p:cNvCxnSpPr/>
            <p:nvPr/>
          </p:nvCxnSpPr>
          <p:spPr>
            <a:xfrm>
              <a:off x="673608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E17F042D-D6EC-49C7-8409-4FB587063A25}"/>
                </a:ext>
              </a:extLst>
            </p:cNvPr>
            <p:cNvCxnSpPr/>
            <p:nvPr/>
          </p:nvCxnSpPr>
          <p:spPr>
            <a:xfrm>
              <a:off x="6827521" y="4447203"/>
              <a:ext cx="0" cy="112083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7F47560C-6D83-4B1E-A656-E798CCE71DB3}"/>
                </a:ext>
              </a:extLst>
            </p:cNvPr>
            <p:cNvCxnSpPr/>
            <p:nvPr/>
          </p:nvCxnSpPr>
          <p:spPr>
            <a:xfrm>
              <a:off x="6918961" y="4503244"/>
              <a:ext cx="0" cy="56042"/>
            </a:xfrm>
            <a:prstGeom prst="line">
              <a:avLst/>
            </a:prstGeom>
            <a:ln w="12700" cap="flat">
              <a:solidFill>
                <a:schemeClr val="accent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Speaker Name">
            <a:extLst>
              <a:ext uri="{FF2B5EF4-FFF2-40B4-BE49-F238E27FC236}">
                <a16:creationId xmlns:a16="http://schemas.microsoft.com/office/drawing/2014/main" id="{0D03EEEE-B07B-48F4-B55F-C322BA4FCC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29295" y="2953512"/>
            <a:ext cx="4020340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Name</a:t>
            </a:r>
          </a:p>
        </p:txBody>
      </p:sp>
      <p:sp>
        <p:nvSpPr>
          <p:cNvPr id="58" name="Text Placeholder 128">
            <a:extLst>
              <a:ext uri="{FF2B5EF4-FFF2-40B4-BE49-F238E27FC236}">
                <a16:creationId xmlns:a16="http://schemas.microsoft.com/office/drawing/2014/main" id="{02F3F674-6E3E-4B4F-A461-192B2E1A3EA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49638" y="2953512"/>
            <a:ext cx="1513062" cy="402336"/>
          </a:xfrm>
          <a:solidFill>
            <a:schemeClr val="tx1">
              <a:lumMod val="85000"/>
              <a:lumOff val="15000"/>
            </a:schemeClr>
          </a:solidFill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600" b="1" i="1" cap="all" spc="6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 algn="ctr">
              <a:spcBef>
                <a:spcPct val="0"/>
              </a:spcBef>
            </a:pPr>
            <a:r>
              <a:rPr lang="en-US" dirty="0"/>
              <a:t>YYYY.MM.DD</a:t>
            </a:r>
          </a:p>
        </p:txBody>
      </p:sp>
      <p:sp>
        <p:nvSpPr>
          <p:cNvPr id="59" name="Speaker Title">
            <a:extLst>
              <a:ext uri="{FF2B5EF4-FFF2-40B4-BE49-F238E27FC236}">
                <a16:creationId xmlns:a16="http://schemas.microsoft.com/office/drawing/2014/main" id="{058F1415-E1D6-47DA-A185-76C3FC2257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29295" y="3355848"/>
            <a:ext cx="5533405" cy="402336"/>
          </a:xfrm>
          <a:noFill/>
          <a:ln w="19050">
            <a:solidFill>
              <a:schemeClr val="tx1">
                <a:lumMod val="75000"/>
                <a:lumOff val="25000"/>
              </a:schemeClr>
            </a:solidFill>
            <a:miter lim="800000"/>
          </a:ln>
        </p:spPr>
        <p:txBody>
          <a:bodyPr vert="horz" wrap="square" lIns="182880" tIns="0" rIns="18288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en-US" sz="1600" b="0" i="1" cap="none" spc="60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82880" lvl="0" indent="-182880">
              <a:spcBef>
                <a:spcPct val="0"/>
              </a:spcBef>
            </a:pPr>
            <a:r>
              <a:rPr lang="en-US" dirty="0"/>
              <a:t>Speaker Title / Company Name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5B3A83E2-FA5C-4BC9-8B76-2DE81BEB61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3329295" y="2440333"/>
            <a:ext cx="5533406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 algn="ctr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14F1EC20-D177-4F9A-AF02-5ABB483C64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09700" y="935570"/>
            <a:ext cx="9372600" cy="1335024"/>
          </a:xfrm>
        </p:spPr>
        <p:txBody>
          <a:bodyPr anchor="b"/>
          <a:lstStyle>
            <a:lvl1pPr algn="ctr">
              <a:lnSpc>
                <a:spcPct val="90000"/>
              </a:lnSpc>
              <a:defRPr sz="4400"/>
            </a:lvl1pPr>
          </a:lstStyle>
          <a:p>
            <a:r>
              <a:rPr lang="en-US" dirty="0"/>
              <a:t>Title Slide</a:t>
            </a:r>
            <a:br>
              <a:rPr lang="en-US" dirty="0"/>
            </a:br>
            <a:r>
              <a:rPr lang="en-US" dirty="0"/>
              <a:t>with Subtitle Lay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F0DA467-6522-4105-A238-D69A42AC0280}"/>
              </a:ext>
            </a:extLst>
          </p:cNvPr>
          <p:cNvSpPr/>
          <p:nvPr userDrawn="1"/>
        </p:nvSpPr>
        <p:spPr>
          <a:xfrm>
            <a:off x="0" y="0"/>
            <a:ext cx="12192000" cy="141619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vert="horz" lIns="137160" tIns="73152" rIns="137160" bIns="73152" rtlCol="0" anchor="ctr">
            <a:noAutofit/>
          </a:bodyPr>
          <a:lstStyle/>
          <a:p>
            <a:pPr marL="182880" lvl="0" indent="-182880" algn="ctr" defTabSz="914400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endParaRPr lang="en-US" sz="1600" b="1" cap="all" spc="300" baseline="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8351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ure">
            <a:extLst>
              <a:ext uri="{FF2B5EF4-FFF2-40B4-BE49-F238E27FC236}">
                <a16:creationId xmlns:a16="http://schemas.microsoft.com/office/drawing/2014/main" id="{8069FB3F-2D73-4C3F-A7A8-E6A22F71C3A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dirty="0" err="1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544ECD5-A100-4CBB-BE85-5E2DB93996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21034" b="37183"/>
          <a:stretch/>
        </p:blipFill>
        <p:spPr>
          <a:xfrm>
            <a:off x="0" y="5372101"/>
            <a:ext cx="2354138" cy="1485900"/>
          </a:xfrm>
          <a:prstGeom prst="rect">
            <a:avLst/>
          </a:prstGeom>
        </p:spPr>
      </p:pic>
      <p:sp>
        <p:nvSpPr>
          <p:cNvPr id="5" name="Subtitle">
            <a:extLst>
              <a:ext uri="{FF2B5EF4-FFF2-40B4-BE49-F238E27FC236}">
                <a16:creationId xmlns:a16="http://schemas.microsoft.com/office/drawing/2014/main" id="{1C588A51-7159-4E94-9856-B64483B8F9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479908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 (Delete if not used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CDB11C21-4702-4664-8D59-793314F8EA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528919"/>
            <a:ext cx="9372600" cy="121439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 dirty="0"/>
              <a:t>Segue Layou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052D0D-2EA4-4CCE-90FA-A02A78C3585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C761C9BF-9222-4B2A-A19A-B5A2710D93B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18" name="Logo">
            <a:extLst>
              <a:ext uri="{FF2B5EF4-FFF2-40B4-BE49-F238E27FC236}">
                <a16:creationId xmlns:a16="http://schemas.microsoft.com/office/drawing/2014/main" id="{507CC42B-659C-4CD4-9F20-358BBD7B0A6B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48801B8-52B3-47AC-9853-2375E256E3A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64F20CB9-4127-4672-B9D3-714FA916023D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420317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Font typeface="Arial" panose="020B0604020202020204" pitchFamily="34" charset="0"/>
              <a:buNone/>
              <a:defRPr lang="en-US" sz="1600" b="1" cap="all" spc="300" baseline="0" dirty="0">
                <a:solidFill>
                  <a:schemeClr val="bg1"/>
                </a:solidFill>
              </a:defRPr>
            </a:lvl1pPr>
          </a:lstStyle>
          <a:p>
            <a:pPr marL="182880" lvl="0" indent="-182880"/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ADC8EF-0ABA-4B52-AEA2-7A3943163EA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2B8CEC4-B0CD-4400-A6AD-DD3E12310A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Only Layout</a:t>
            </a:r>
          </a:p>
        </p:txBody>
      </p:sp>
    </p:spTree>
    <p:extLst>
      <p:ext uri="{BB962C8B-B14F-4D97-AF65-F5344CB8AC3E}">
        <p14:creationId xmlns:p14="http://schemas.microsoft.com/office/powerpoint/2010/main" val="13761822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1129284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F94C0C-A1DE-4B4E-81B9-1791716845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On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4500251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08776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5532120" cy="447905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08BA35-76C2-4ED8-B770-6CBDC27C821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187FFC-2B63-49CE-B2BC-B238E1BC79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wo Column Layout</a:t>
            </a:r>
          </a:p>
        </p:txBody>
      </p:sp>
    </p:spTree>
    <p:extLst>
      <p:ext uri="{BB962C8B-B14F-4D97-AF65-F5344CB8AC3E}">
        <p14:creationId xmlns:p14="http://schemas.microsoft.com/office/powerpoint/2010/main" val="1645166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E7D5292-8D24-405D-9E5D-79D2DD40F68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29016" y="1802869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419DE35-D0AB-4348-89C4-2714CF5EEDE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289298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424"/>
            <a:ext cx="3611880" cy="4479504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04F64A-6956-41D3-B0E4-CCC3453A7F7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9030608-2773-46C2-905B-B17C3B831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hree Column Layout</a:t>
            </a:r>
          </a:p>
        </p:txBody>
      </p:sp>
    </p:spTree>
    <p:extLst>
      <p:ext uri="{BB962C8B-B14F-4D97-AF65-F5344CB8AC3E}">
        <p14:creationId xmlns:p14="http://schemas.microsoft.com/office/powerpoint/2010/main" val="3114457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999E3BF3-DA31-48DD-AC45-91FC2DBAAD4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251704" y="0"/>
            <a:ext cx="6940296" cy="6858000"/>
          </a:xfrm>
          <a:solidFill>
            <a:schemeClr val="bg1">
              <a:lumMod val="85000"/>
            </a:schemeClr>
          </a:solidFill>
        </p:spPr>
        <p:txBody>
          <a:bodyPr vert="horz" lIns="0" tIns="0" rIns="0" bIns="82296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US" sz="180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 dirty="0"/>
              <a:t>Click icon below to insert picture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D468E16-0E6F-4B64-BCD8-5D8D8376E1A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1368"/>
            <a:ext cx="4206240" cy="448056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420624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.I.N.U.)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D051183-1C65-4067-A80F-CAB4F09E82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02" y="372339"/>
            <a:ext cx="4206240" cy="492443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Photo Right Layout</a:t>
            </a:r>
          </a:p>
        </p:txBody>
      </p:sp>
    </p:spTree>
    <p:extLst>
      <p:ext uri="{BB962C8B-B14F-4D97-AF65-F5344CB8AC3E}">
        <p14:creationId xmlns:p14="http://schemas.microsoft.com/office/powerpoint/2010/main" val="3141418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ed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">
            <a:extLst>
              <a:ext uri="{FF2B5EF4-FFF2-40B4-BE49-F238E27FC236}">
                <a16:creationId xmlns:a16="http://schemas.microsoft.com/office/drawing/2014/main" id="{DFCA12C4-AE90-4F31-9EA7-3AA24CB39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449201" y="920555"/>
            <a:ext cx="7453790" cy="393954"/>
          </a:xfrm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</p:spPr>
        <p:txBody>
          <a:bodyPr vert="horz" lIns="137160" tIns="73152" rIns="137160" bIns="73152" rtlCol="0" anchor="ctr">
            <a:spAutoFit/>
          </a:bodyPr>
          <a:lstStyle>
            <a:lvl1pPr marL="0" indent="0">
              <a:buNone/>
              <a:defRPr lang="en-US" sz="1600" b="1" kern="1200" cap="all" spc="3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US" dirty="0"/>
              <a:t>Subtitle (Delete if not used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F94C0C-A1DE-4B4E-81B9-17917168456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ptional Title of the Presentation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6CA66E-0730-4548-BD28-48477B0C3C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umbered One Column Layout</a:t>
            </a:r>
          </a:p>
        </p:txBody>
      </p:sp>
      <p:sp>
        <p:nvSpPr>
          <p:cNvPr id="10" name="Content Placeholder 11">
            <a:extLst>
              <a:ext uri="{FF2B5EF4-FFF2-40B4-BE49-F238E27FC236}">
                <a16:creationId xmlns:a16="http://schemas.microsoft.com/office/drawing/2014/main" id="{4DE42E10-C02B-493C-892E-5A8A326E788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580" y="1802869"/>
            <a:ext cx="11292840" cy="4479059"/>
          </a:xfrm>
        </p:spPr>
        <p:txBody>
          <a:bodyPr/>
          <a:lstStyle>
            <a:lvl1pPr marL="344488" indent="-344488">
              <a:buFont typeface="+mj-lt"/>
              <a:buAutoNum type="arabicPeriod"/>
              <a:tabLst>
                <a:tab pos="288925" algn="l"/>
              </a:tabLst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15938" indent="-163513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 marL="687388" indent="-163513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 marL="860425" indent="-171450">
              <a:defRPr/>
            </a:lvl4pPr>
            <a:lvl5pPr marL="1031875" indent="-171450"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41459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">
            <a:extLst>
              <a:ext uri="{FF2B5EF4-FFF2-40B4-BE49-F238E27FC236}">
                <a16:creationId xmlns:a16="http://schemas.microsoft.com/office/drawing/2014/main" id="{9773789E-1482-4DF2-AC34-ED595BC86F6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006977" y="6447297"/>
            <a:ext cx="735822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862D98-B5C3-4BE4-8A34-4F5B36AB20BC}" type="slidenum">
              <a:rPr lang="en-US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14A8E363-B738-48A5-915F-96EF63027B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9201" y="1802870"/>
            <a:ext cx="11293597" cy="44757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: Bullet, 20pt</a:t>
            </a:r>
          </a:p>
          <a:p>
            <a:pPr lvl="1"/>
            <a:r>
              <a:rPr lang="en-US" dirty="0"/>
              <a:t>Second level: Sub-bullet 1, 18pt</a:t>
            </a:r>
          </a:p>
          <a:p>
            <a:pPr lvl="2"/>
            <a:r>
              <a:rPr lang="en-US" dirty="0"/>
              <a:t>Third level: Sub-bullet 2, 16pt</a:t>
            </a:r>
          </a:p>
          <a:p>
            <a:pPr lvl="3"/>
            <a:r>
              <a:rPr lang="en-US" dirty="0"/>
              <a:t>Fourth level: Sub-bullet 3, 14pt</a:t>
            </a:r>
          </a:p>
          <a:p>
            <a:pPr lvl="4"/>
            <a:r>
              <a:rPr lang="en-US" dirty="0"/>
              <a:t>Fifth level: Sub-bullet 4, 12pt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49202" y="372339"/>
            <a:ext cx="11293597" cy="49244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, 32pt</a:t>
            </a:r>
          </a:p>
        </p:txBody>
      </p:sp>
      <p:grpSp>
        <p:nvGrpSpPr>
          <p:cNvPr id="8" name="Logo">
            <a:extLst>
              <a:ext uri="{FF2B5EF4-FFF2-40B4-BE49-F238E27FC236}">
                <a16:creationId xmlns:a16="http://schemas.microsoft.com/office/drawing/2014/main" id="{CBB5A743-284E-4F77-9C07-20F6113DB3BD}"/>
              </a:ext>
            </a:extLst>
          </p:cNvPr>
          <p:cNvGrpSpPr>
            <a:grpSpLocks noChangeAspect="1"/>
          </p:cNvGrpSpPr>
          <p:nvPr userDrawn="1"/>
        </p:nvGrpSpPr>
        <p:grpSpPr bwMode="black">
          <a:xfrm>
            <a:off x="428653" y="6447297"/>
            <a:ext cx="914400" cy="214552"/>
            <a:chOff x="1231901" y="5359401"/>
            <a:chExt cx="11210925" cy="2630487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BB597971-37D3-4BC0-93F4-2E4A0C596B82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105401" y="5586413"/>
              <a:ext cx="7337425" cy="2147887"/>
            </a:xfrm>
            <a:custGeom>
              <a:avLst/>
              <a:gdLst>
                <a:gd name="T0" fmla="*/ 0 w 3931"/>
                <a:gd name="T1" fmla="*/ 803 h 1148"/>
                <a:gd name="T2" fmla="*/ 552 w 3931"/>
                <a:gd name="T3" fmla="*/ 1142 h 1148"/>
                <a:gd name="T4" fmla="*/ 388 w 3931"/>
                <a:gd name="T5" fmla="*/ 853 h 1148"/>
                <a:gd name="T6" fmla="*/ 388 w 3931"/>
                <a:gd name="T7" fmla="*/ 1092 h 1148"/>
                <a:gd name="T8" fmla="*/ 620 w 3931"/>
                <a:gd name="T9" fmla="*/ 974 h 1148"/>
                <a:gd name="T10" fmla="*/ 887 w 3931"/>
                <a:gd name="T11" fmla="*/ 900 h 1148"/>
                <a:gd name="T12" fmla="*/ 701 w 3931"/>
                <a:gd name="T13" fmla="*/ 877 h 1148"/>
                <a:gd name="T14" fmla="*/ 828 w 3931"/>
                <a:gd name="T15" fmla="*/ 1048 h 1148"/>
                <a:gd name="T16" fmla="*/ 762 w 3931"/>
                <a:gd name="T17" fmla="*/ 1148 h 1148"/>
                <a:gd name="T18" fmla="*/ 1018 w 3931"/>
                <a:gd name="T19" fmla="*/ 1142 h 1148"/>
                <a:gd name="T20" fmla="*/ 1169 w 3931"/>
                <a:gd name="T21" fmla="*/ 943 h 1148"/>
                <a:gd name="T22" fmla="*/ 1533 w 3931"/>
                <a:gd name="T23" fmla="*/ 1142 h 1148"/>
                <a:gd name="T24" fmla="*/ 1327 w 3931"/>
                <a:gd name="T25" fmla="*/ 803 h 1148"/>
                <a:gd name="T26" fmla="*/ 1596 w 3931"/>
                <a:gd name="T27" fmla="*/ 1142 h 1148"/>
                <a:gd name="T28" fmla="*/ 1719 w 3931"/>
                <a:gd name="T29" fmla="*/ 844 h 1148"/>
                <a:gd name="T30" fmla="*/ 1834 w 3931"/>
                <a:gd name="T31" fmla="*/ 1148 h 1148"/>
                <a:gd name="T32" fmla="*/ 1833 w 3931"/>
                <a:gd name="T33" fmla="*/ 1099 h 1148"/>
                <a:gd name="T34" fmla="*/ 2274 w 3931"/>
                <a:gd name="T35" fmla="*/ 1142 h 1148"/>
                <a:gd name="T36" fmla="*/ 2274 w 3931"/>
                <a:gd name="T37" fmla="*/ 1092 h 1148"/>
                <a:gd name="T38" fmla="*/ 2360 w 3931"/>
                <a:gd name="T39" fmla="*/ 844 h 1148"/>
                <a:gd name="T40" fmla="*/ 2475 w 3931"/>
                <a:gd name="T41" fmla="*/ 1148 h 1148"/>
                <a:gd name="T42" fmla="*/ 2475 w 3931"/>
                <a:gd name="T43" fmla="*/ 1099 h 1148"/>
                <a:gd name="T44" fmla="*/ 2862 w 3931"/>
                <a:gd name="T45" fmla="*/ 1148 h 1148"/>
                <a:gd name="T46" fmla="*/ 2949 w 3931"/>
                <a:gd name="T47" fmla="*/ 822 h 1148"/>
                <a:gd name="T48" fmla="*/ 2905 w 3931"/>
                <a:gd name="T49" fmla="*/ 856 h 1148"/>
                <a:gd name="T50" fmla="*/ 2864 w 3931"/>
                <a:gd name="T51" fmla="*/ 1101 h 1148"/>
                <a:gd name="T52" fmla="*/ 2857 w 3931"/>
                <a:gd name="T53" fmla="*/ 955 h 1148"/>
                <a:gd name="T54" fmla="*/ 2862 w 3931"/>
                <a:gd name="T55" fmla="*/ 1148 h 1148"/>
                <a:gd name="T56" fmla="*/ 3139 w 3931"/>
                <a:gd name="T57" fmla="*/ 1142 h 1148"/>
                <a:gd name="T58" fmla="*/ 3458 w 3931"/>
                <a:gd name="T59" fmla="*/ 853 h 1148"/>
                <a:gd name="T60" fmla="*/ 3298 w 3931"/>
                <a:gd name="T61" fmla="*/ 991 h 1148"/>
                <a:gd name="T62" fmla="*/ 3562 w 3931"/>
                <a:gd name="T63" fmla="*/ 1123 h 1148"/>
                <a:gd name="T64" fmla="*/ 3606 w 3931"/>
                <a:gd name="T65" fmla="*/ 1084 h 1148"/>
                <a:gd name="T66" fmla="*/ 3647 w 3931"/>
                <a:gd name="T67" fmla="*/ 991 h 1148"/>
                <a:gd name="T68" fmla="*/ 3569 w 3931"/>
                <a:gd name="T69" fmla="*/ 824 h 1148"/>
                <a:gd name="T70" fmla="*/ 3724 w 3931"/>
                <a:gd name="T71" fmla="*/ 895 h 1148"/>
                <a:gd name="T72" fmla="*/ 3591 w 3931"/>
                <a:gd name="T73" fmla="*/ 893 h 1148"/>
                <a:gd name="T74" fmla="*/ 3754 w 3931"/>
                <a:gd name="T75" fmla="*/ 1120 h 1148"/>
                <a:gd name="T76" fmla="*/ 152 w 3931"/>
                <a:gd name="T77" fmla="*/ 268 h 1148"/>
                <a:gd name="T78" fmla="*/ 361 w 3931"/>
                <a:gd name="T79" fmla="*/ 605 h 1148"/>
                <a:gd name="T80" fmla="*/ 553 w 3931"/>
                <a:gd name="T81" fmla="*/ 11 h 1148"/>
                <a:gd name="T82" fmla="*/ 931 w 3931"/>
                <a:gd name="T83" fmla="*/ 249 h 1148"/>
                <a:gd name="T84" fmla="*/ 957 w 3931"/>
                <a:gd name="T85" fmla="*/ 605 h 1148"/>
                <a:gd name="T86" fmla="*/ 1123 w 3931"/>
                <a:gd name="T87" fmla="*/ 11 h 1148"/>
                <a:gd name="T88" fmla="*/ 1317 w 3931"/>
                <a:gd name="T89" fmla="*/ 605 h 1148"/>
                <a:gd name="T90" fmla="*/ 1746 w 3931"/>
                <a:gd name="T91" fmla="*/ 531 h 1148"/>
                <a:gd name="T92" fmla="*/ 1687 w 3931"/>
                <a:gd name="T93" fmla="*/ 337 h 1148"/>
                <a:gd name="T94" fmla="*/ 1749 w 3931"/>
                <a:gd name="T95" fmla="*/ 0 h 1148"/>
                <a:gd name="T96" fmla="*/ 1813 w 3931"/>
                <a:gd name="T97" fmla="*/ 106 h 1148"/>
                <a:gd name="T98" fmla="*/ 1797 w 3931"/>
                <a:gd name="T99" fmla="*/ 262 h 1148"/>
                <a:gd name="T100" fmla="*/ 1563 w 3931"/>
                <a:gd name="T101" fmla="*/ 567 h 1148"/>
                <a:gd name="T102" fmla="*/ 2188 w 3931"/>
                <a:gd name="T103" fmla="*/ 605 h 1148"/>
                <a:gd name="T104" fmla="*/ 2711 w 3931"/>
                <a:gd name="T105" fmla="*/ 603 h 1148"/>
                <a:gd name="T106" fmla="*/ 2582 w 3931"/>
                <a:gd name="T107" fmla="*/ 1 h 1148"/>
                <a:gd name="T108" fmla="*/ 2664 w 3931"/>
                <a:gd name="T109" fmla="*/ 111 h 1148"/>
                <a:gd name="T110" fmla="*/ 2595 w 3931"/>
                <a:gd name="T111" fmla="*/ 525 h 1148"/>
                <a:gd name="T112" fmla="*/ 2579 w 3931"/>
                <a:gd name="T113" fmla="*/ 288 h 1148"/>
                <a:gd name="T114" fmla="*/ 3048 w 3931"/>
                <a:gd name="T115" fmla="*/ 248 h 1148"/>
                <a:gd name="T116" fmla="*/ 3273 w 3931"/>
                <a:gd name="T117" fmla="*/ 605 h 1148"/>
                <a:gd name="T118" fmla="*/ 3628 w 3931"/>
                <a:gd name="T119" fmla="*/ 605 h 1148"/>
                <a:gd name="T120" fmla="*/ 3931 w 3931"/>
                <a:gd name="T121" fmla="*/ 107 h 1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31" h="1148">
                  <a:moveTo>
                    <a:pt x="163" y="1142"/>
                  </a:moveTo>
                  <a:cubicBezTo>
                    <a:pt x="109" y="1142"/>
                    <a:pt x="109" y="1142"/>
                    <a:pt x="109" y="1142"/>
                  </a:cubicBezTo>
                  <a:cubicBezTo>
                    <a:pt x="109" y="853"/>
                    <a:pt x="109" y="853"/>
                    <a:pt x="109" y="853"/>
                  </a:cubicBezTo>
                  <a:cubicBezTo>
                    <a:pt x="0" y="853"/>
                    <a:pt x="0" y="853"/>
                    <a:pt x="0" y="853"/>
                  </a:cubicBezTo>
                  <a:cubicBezTo>
                    <a:pt x="0" y="803"/>
                    <a:pt x="0" y="803"/>
                    <a:pt x="0" y="803"/>
                  </a:cubicBezTo>
                  <a:cubicBezTo>
                    <a:pt x="273" y="803"/>
                    <a:pt x="273" y="803"/>
                    <a:pt x="273" y="803"/>
                  </a:cubicBezTo>
                  <a:cubicBezTo>
                    <a:pt x="273" y="853"/>
                    <a:pt x="273" y="853"/>
                    <a:pt x="273" y="853"/>
                  </a:cubicBezTo>
                  <a:cubicBezTo>
                    <a:pt x="163" y="853"/>
                    <a:pt x="163" y="853"/>
                    <a:pt x="163" y="853"/>
                  </a:cubicBezTo>
                  <a:lnTo>
                    <a:pt x="163" y="1142"/>
                  </a:lnTo>
                  <a:close/>
                  <a:moveTo>
                    <a:pt x="552" y="1142"/>
                  </a:moveTo>
                  <a:cubicBezTo>
                    <a:pt x="334" y="1142"/>
                    <a:pt x="334" y="1142"/>
                    <a:pt x="334" y="1142"/>
                  </a:cubicBezTo>
                  <a:cubicBezTo>
                    <a:pt x="334" y="803"/>
                    <a:pt x="334" y="803"/>
                    <a:pt x="334" y="803"/>
                  </a:cubicBezTo>
                  <a:cubicBezTo>
                    <a:pt x="548" y="803"/>
                    <a:pt x="548" y="803"/>
                    <a:pt x="548" y="803"/>
                  </a:cubicBezTo>
                  <a:cubicBezTo>
                    <a:pt x="548" y="853"/>
                    <a:pt x="548" y="853"/>
                    <a:pt x="548" y="853"/>
                  </a:cubicBezTo>
                  <a:cubicBezTo>
                    <a:pt x="388" y="853"/>
                    <a:pt x="388" y="853"/>
                    <a:pt x="388" y="853"/>
                  </a:cubicBezTo>
                  <a:cubicBezTo>
                    <a:pt x="388" y="942"/>
                    <a:pt x="388" y="942"/>
                    <a:pt x="388" y="942"/>
                  </a:cubicBezTo>
                  <a:cubicBezTo>
                    <a:pt x="541" y="942"/>
                    <a:pt x="541" y="942"/>
                    <a:pt x="541" y="942"/>
                  </a:cubicBezTo>
                  <a:cubicBezTo>
                    <a:pt x="541" y="991"/>
                    <a:pt x="541" y="991"/>
                    <a:pt x="541" y="991"/>
                  </a:cubicBezTo>
                  <a:cubicBezTo>
                    <a:pt x="388" y="991"/>
                    <a:pt x="388" y="991"/>
                    <a:pt x="388" y="991"/>
                  </a:cubicBezTo>
                  <a:cubicBezTo>
                    <a:pt x="388" y="1092"/>
                    <a:pt x="388" y="1092"/>
                    <a:pt x="388" y="1092"/>
                  </a:cubicBezTo>
                  <a:cubicBezTo>
                    <a:pt x="552" y="1092"/>
                    <a:pt x="552" y="1092"/>
                    <a:pt x="552" y="1092"/>
                  </a:cubicBezTo>
                  <a:lnTo>
                    <a:pt x="552" y="1142"/>
                  </a:lnTo>
                  <a:close/>
                  <a:moveTo>
                    <a:pt x="762" y="1148"/>
                  </a:moveTo>
                  <a:cubicBezTo>
                    <a:pt x="716" y="1148"/>
                    <a:pt x="681" y="1133"/>
                    <a:pt x="656" y="1103"/>
                  </a:cubicBezTo>
                  <a:cubicBezTo>
                    <a:pt x="632" y="1073"/>
                    <a:pt x="620" y="1030"/>
                    <a:pt x="620" y="974"/>
                  </a:cubicBezTo>
                  <a:cubicBezTo>
                    <a:pt x="620" y="919"/>
                    <a:pt x="633" y="875"/>
                    <a:pt x="658" y="845"/>
                  </a:cubicBezTo>
                  <a:cubicBezTo>
                    <a:pt x="683" y="814"/>
                    <a:pt x="719" y="798"/>
                    <a:pt x="766" y="798"/>
                  </a:cubicBezTo>
                  <a:cubicBezTo>
                    <a:pt x="802" y="798"/>
                    <a:pt x="831" y="807"/>
                    <a:pt x="853" y="824"/>
                  </a:cubicBezTo>
                  <a:cubicBezTo>
                    <a:pt x="874" y="841"/>
                    <a:pt x="886" y="865"/>
                    <a:pt x="887" y="894"/>
                  </a:cubicBezTo>
                  <a:cubicBezTo>
                    <a:pt x="887" y="900"/>
                    <a:pt x="887" y="900"/>
                    <a:pt x="887" y="900"/>
                  </a:cubicBezTo>
                  <a:cubicBezTo>
                    <a:pt x="830" y="900"/>
                    <a:pt x="830" y="900"/>
                    <a:pt x="830" y="900"/>
                  </a:cubicBezTo>
                  <a:cubicBezTo>
                    <a:pt x="829" y="895"/>
                    <a:pt x="829" y="895"/>
                    <a:pt x="829" y="895"/>
                  </a:cubicBezTo>
                  <a:cubicBezTo>
                    <a:pt x="828" y="880"/>
                    <a:pt x="822" y="868"/>
                    <a:pt x="810" y="858"/>
                  </a:cubicBezTo>
                  <a:cubicBezTo>
                    <a:pt x="797" y="848"/>
                    <a:pt x="782" y="844"/>
                    <a:pt x="764" y="844"/>
                  </a:cubicBezTo>
                  <a:cubicBezTo>
                    <a:pt x="737" y="844"/>
                    <a:pt x="716" y="854"/>
                    <a:pt x="701" y="877"/>
                  </a:cubicBezTo>
                  <a:cubicBezTo>
                    <a:pt x="686" y="899"/>
                    <a:pt x="678" y="932"/>
                    <a:pt x="678" y="973"/>
                  </a:cubicBezTo>
                  <a:cubicBezTo>
                    <a:pt x="678" y="1014"/>
                    <a:pt x="685" y="1045"/>
                    <a:pt x="700" y="1067"/>
                  </a:cubicBezTo>
                  <a:cubicBezTo>
                    <a:pt x="715" y="1089"/>
                    <a:pt x="735" y="1099"/>
                    <a:pt x="762" y="1099"/>
                  </a:cubicBezTo>
                  <a:cubicBezTo>
                    <a:pt x="782" y="1099"/>
                    <a:pt x="797" y="1095"/>
                    <a:pt x="809" y="1086"/>
                  </a:cubicBezTo>
                  <a:cubicBezTo>
                    <a:pt x="820" y="1076"/>
                    <a:pt x="827" y="1064"/>
                    <a:pt x="828" y="1048"/>
                  </a:cubicBezTo>
                  <a:cubicBezTo>
                    <a:pt x="829" y="1043"/>
                    <a:pt x="829" y="1043"/>
                    <a:pt x="829" y="1043"/>
                  </a:cubicBezTo>
                  <a:cubicBezTo>
                    <a:pt x="888" y="1043"/>
                    <a:pt x="888" y="1043"/>
                    <a:pt x="888" y="1043"/>
                  </a:cubicBezTo>
                  <a:cubicBezTo>
                    <a:pt x="888" y="1049"/>
                    <a:pt x="888" y="1049"/>
                    <a:pt x="888" y="1049"/>
                  </a:cubicBezTo>
                  <a:cubicBezTo>
                    <a:pt x="887" y="1079"/>
                    <a:pt x="875" y="1103"/>
                    <a:pt x="852" y="1121"/>
                  </a:cubicBezTo>
                  <a:cubicBezTo>
                    <a:pt x="830" y="1139"/>
                    <a:pt x="800" y="1148"/>
                    <a:pt x="762" y="1148"/>
                  </a:cubicBezTo>
                  <a:moveTo>
                    <a:pt x="1223" y="1142"/>
                  </a:moveTo>
                  <a:cubicBezTo>
                    <a:pt x="1169" y="1142"/>
                    <a:pt x="1169" y="1142"/>
                    <a:pt x="1169" y="1142"/>
                  </a:cubicBezTo>
                  <a:cubicBezTo>
                    <a:pt x="1169" y="993"/>
                    <a:pt x="1169" y="993"/>
                    <a:pt x="1169" y="993"/>
                  </a:cubicBezTo>
                  <a:cubicBezTo>
                    <a:pt x="1018" y="993"/>
                    <a:pt x="1018" y="993"/>
                    <a:pt x="1018" y="993"/>
                  </a:cubicBezTo>
                  <a:cubicBezTo>
                    <a:pt x="1018" y="1142"/>
                    <a:pt x="1018" y="1142"/>
                    <a:pt x="1018" y="1142"/>
                  </a:cubicBezTo>
                  <a:cubicBezTo>
                    <a:pt x="963" y="1142"/>
                    <a:pt x="963" y="1142"/>
                    <a:pt x="963" y="1142"/>
                  </a:cubicBezTo>
                  <a:cubicBezTo>
                    <a:pt x="963" y="803"/>
                    <a:pt x="963" y="803"/>
                    <a:pt x="963" y="803"/>
                  </a:cubicBezTo>
                  <a:cubicBezTo>
                    <a:pt x="1018" y="803"/>
                    <a:pt x="1018" y="803"/>
                    <a:pt x="1018" y="803"/>
                  </a:cubicBezTo>
                  <a:cubicBezTo>
                    <a:pt x="1018" y="943"/>
                    <a:pt x="1018" y="943"/>
                    <a:pt x="1018" y="943"/>
                  </a:cubicBezTo>
                  <a:cubicBezTo>
                    <a:pt x="1169" y="943"/>
                    <a:pt x="1169" y="943"/>
                    <a:pt x="1169" y="943"/>
                  </a:cubicBezTo>
                  <a:cubicBezTo>
                    <a:pt x="1169" y="803"/>
                    <a:pt x="1169" y="803"/>
                    <a:pt x="1169" y="803"/>
                  </a:cubicBezTo>
                  <a:cubicBezTo>
                    <a:pt x="1223" y="803"/>
                    <a:pt x="1223" y="803"/>
                    <a:pt x="1223" y="803"/>
                  </a:cubicBezTo>
                  <a:lnTo>
                    <a:pt x="1223" y="1142"/>
                  </a:lnTo>
                  <a:close/>
                  <a:moveTo>
                    <a:pt x="1595" y="1142"/>
                  </a:moveTo>
                  <a:cubicBezTo>
                    <a:pt x="1533" y="1142"/>
                    <a:pt x="1533" y="1142"/>
                    <a:pt x="1533" y="1142"/>
                  </a:cubicBezTo>
                  <a:cubicBezTo>
                    <a:pt x="1532" y="1140"/>
                    <a:pt x="1532" y="1140"/>
                    <a:pt x="1532" y="1140"/>
                  </a:cubicBezTo>
                  <a:cubicBezTo>
                    <a:pt x="1378" y="878"/>
                    <a:pt x="1378" y="878"/>
                    <a:pt x="1378" y="878"/>
                  </a:cubicBezTo>
                  <a:cubicBezTo>
                    <a:pt x="1378" y="1142"/>
                    <a:pt x="1378" y="1142"/>
                    <a:pt x="1378" y="1142"/>
                  </a:cubicBezTo>
                  <a:cubicBezTo>
                    <a:pt x="1327" y="1142"/>
                    <a:pt x="1327" y="1142"/>
                    <a:pt x="1327" y="1142"/>
                  </a:cubicBezTo>
                  <a:cubicBezTo>
                    <a:pt x="1327" y="803"/>
                    <a:pt x="1327" y="803"/>
                    <a:pt x="1327" y="803"/>
                  </a:cubicBezTo>
                  <a:cubicBezTo>
                    <a:pt x="1398" y="803"/>
                    <a:pt x="1398" y="803"/>
                    <a:pt x="1398" y="803"/>
                  </a:cubicBezTo>
                  <a:cubicBezTo>
                    <a:pt x="1545" y="1056"/>
                    <a:pt x="1545" y="1056"/>
                    <a:pt x="1545" y="1056"/>
                  </a:cubicBezTo>
                  <a:cubicBezTo>
                    <a:pt x="1545" y="803"/>
                    <a:pt x="1545" y="803"/>
                    <a:pt x="1545" y="803"/>
                  </a:cubicBezTo>
                  <a:cubicBezTo>
                    <a:pt x="1596" y="803"/>
                    <a:pt x="1596" y="803"/>
                    <a:pt x="1596" y="803"/>
                  </a:cubicBezTo>
                  <a:cubicBezTo>
                    <a:pt x="1596" y="1142"/>
                    <a:pt x="1596" y="1142"/>
                    <a:pt x="1596" y="1142"/>
                  </a:cubicBezTo>
                  <a:lnTo>
                    <a:pt x="1595" y="1142"/>
                  </a:lnTo>
                  <a:close/>
                  <a:moveTo>
                    <a:pt x="1834" y="1148"/>
                  </a:moveTo>
                  <a:cubicBezTo>
                    <a:pt x="1785" y="1148"/>
                    <a:pt x="1746" y="1132"/>
                    <a:pt x="1719" y="1102"/>
                  </a:cubicBezTo>
                  <a:cubicBezTo>
                    <a:pt x="1692" y="1071"/>
                    <a:pt x="1678" y="1028"/>
                    <a:pt x="1678" y="974"/>
                  </a:cubicBezTo>
                  <a:cubicBezTo>
                    <a:pt x="1678" y="918"/>
                    <a:pt x="1692" y="875"/>
                    <a:pt x="1719" y="844"/>
                  </a:cubicBezTo>
                  <a:cubicBezTo>
                    <a:pt x="1746" y="814"/>
                    <a:pt x="1785" y="798"/>
                    <a:pt x="1834" y="798"/>
                  </a:cubicBezTo>
                  <a:cubicBezTo>
                    <a:pt x="1883" y="798"/>
                    <a:pt x="1922" y="814"/>
                    <a:pt x="1949" y="844"/>
                  </a:cubicBezTo>
                  <a:cubicBezTo>
                    <a:pt x="1975" y="874"/>
                    <a:pt x="1989" y="918"/>
                    <a:pt x="1989" y="974"/>
                  </a:cubicBezTo>
                  <a:cubicBezTo>
                    <a:pt x="1989" y="1029"/>
                    <a:pt x="1975" y="1072"/>
                    <a:pt x="1948" y="1102"/>
                  </a:cubicBezTo>
                  <a:cubicBezTo>
                    <a:pt x="1921" y="1132"/>
                    <a:pt x="1883" y="1148"/>
                    <a:pt x="1834" y="1148"/>
                  </a:cubicBezTo>
                  <a:moveTo>
                    <a:pt x="1833" y="845"/>
                  </a:moveTo>
                  <a:cubicBezTo>
                    <a:pt x="1802" y="845"/>
                    <a:pt x="1778" y="855"/>
                    <a:pt x="1761" y="877"/>
                  </a:cubicBezTo>
                  <a:cubicBezTo>
                    <a:pt x="1745" y="899"/>
                    <a:pt x="1736" y="930"/>
                    <a:pt x="1736" y="971"/>
                  </a:cubicBezTo>
                  <a:cubicBezTo>
                    <a:pt x="1736" y="1013"/>
                    <a:pt x="1745" y="1045"/>
                    <a:pt x="1762" y="1067"/>
                  </a:cubicBezTo>
                  <a:cubicBezTo>
                    <a:pt x="1778" y="1089"/>
                    <a:pt x="1802" y="1099"/>
                    <a:pt x="1833" y="1099"/>
                  </a:cubicBezTo>
                  <a:cubicBezTo>
                    <a:pt x="1865" y="1099"/>
                    <a:pt x="1889" y="1089"/>
                    <a:pt x="1905" y="1067"/>
                  </a:cubicBezTo>
                  <a:cubicBezTo>
                    <a:pt x="1922" y="1046"/>
                    <a:pt x="1931" y="1014"/>
                    <a:pt x="1931" y="972"/>
                  </a:cubicBezTo>
                  <a:cubicBezTo>
                    <a:pt x="1931" y="931"/>
                    <a:pt x="1922" y="899"/>
                    <a:pt x="1905" y="877"/>
                  </a:cubicBezTo>
                  <a:cubicBezTo>
                    <a:pt x="1888" y="855"/>
                    <a:pt x="1865" y="845"/>
                    <a:pt x="1833" y="845"/>
                  </a:cubicBezTo>
                  <a:moveTo>
                    <a:pt x="2274" y="1142"/>
                  </a:moveTo>
                  <a:cubicBezTo>
                    <a:pt x="2070" y="1142"/>
                    <a:pt x="2070" y="1142"/>
                    <a:pt x="2070" y="1142"/>
                  </a:cubicBezTo>
                  <a:cubicBezTo>
                    <a:pt x="2070" y="803"/>
                    <a:pt x="2070" y="803"/>
                    <a:pt x="2070" y="803"/>
                  </a:cubicBezTo>
                  <a:cubicBezTo>
                    <a:pt x="2125" y="803"/>
                    <a:pt x="2125" y="803"/>
                    <a:pt x="2125" y="803"/>
                  </a:cubicBezTo>
                  <a:cubicBezTo>
                    <a:pt x="2125" y="1092"/>
                    <a:pt x="2125" y="1092"/>
                    <a:pt x="2125" y="1092"/>
                  </a:cubicBezTo>
                  <a:cubicBezTo>
                    <a:pt x="2274" y="1092"/>
                    <a:pt x="2274" y="1092"/>
                    <a:pt x="2274" y="1092"/>
                  </a:cubicBezTo>
                  <a:cubicBezTo>
                    <a:pt x="2274" y="1142"/>
                    <a:pt x="2274" y="1142"/>
                    <a:pt x="2274" y="1142"/>
                  </a:cubicBezTo>
                  <a:close/>
                  <a:moveTo>
                    <a:pt x="2475" y="1148"/>
                  </a:moveTo>
                  <a:cubicBezTo>
                    <a:pt x="2427" y="1148"/>
                    <a:pt x="2388" y="1132"/>
                    <a:pt x="2361" y="1102"/>
                  </a:cubicBezTo>
                  <a:cubicBezTo>
                    <a:pt x="2334" y="1071"/>
                    <a:pt x="2320" y="1028"/>
                    <a:pt x="2320" y="974"/>
                  </a:cubicBezTo>
                  <a:cubicBezTo>
                    <a:pt x="2320" y="918"/>
                    <a:pt x="2334" y="875"/>
                    <a:pt x="2360" y="844"/>
                  </a:cubicBezTo>
                  <a:cubicBezTo>
                    <a:pt x="2387" y="814"/>
                    <a:pt x="2426" y="798"/>
                    <a:pt x="2475" y="798"/>
                  </a:cubicBezTo>
                  <a:cubicBezTo>
                    <a:pt x="2525" y="798"/>
                    <a:pt x="2563" y="814"/>
                    <a:pt x="2590" y="844"/>
                  </a:cubicBezTo>
                  <a:cubicBezTo>
                    <a:pt x="2617" y="874"/>
                    <a:pt x="2630" y="918"/>
                    <a:pt x="2630" y="974"/>
                  </a:cubicBezTo>
                  <a:cubicBezTo>
                    <a:pt x="2630" y="1029"/>
                    <a:pt x="2617" y="1072"/>
                    <a:pt x="2590" y="1102"/>
                  </a:cubicBezTo>
                  <a:cubicBezTo>
                    <a:pt x="2563" y="1132"/>
                    <a:pt x="2525" y="1148"/>
                    <a:pt x="2475" y="1148"/>
                  </a:cubicBezTo>
                  <a:moveTo>
                    <a:pt x="2475" y="845"/>
                  </a:moveTo>
                  <a:cubicBezTo>
                    <a:pt x="2443" y="845"/>
                    <a:pt x="2420" y="855"/>
                    <a:pt x="2403" y="877"/>
                  </a:cubicBezTo>
                  <a:cubicBezTo>
                    <a:pt x="2386" y="899"/>
                    <a:pt x="2378" y="930"/>
                    <a:pt x="2378" y="971"/>
                  </a:cubicBezTo>
                  <a:cubicBezTo>
                    <a:pt x="2378" y="1013"/>
                    <a:pt x="2386" y="1045"/>
                    <a:pt x="2403" y="1067"/>
                  </a:cubicBezTo>
                  <a:cubicBezTo>
                    <a:pt x="2420" y="1089"/>
                    <a:pt x="2443" y="1099"/>
                    <a:pt x="2475" y="1099"/>
                  </a:cubicBezTo>
                  <a:cubicBezTo>
                    <a:pt x="2507" y="1099"/>
                    <a:pt x="2530" y="1089"/>
                    <a:pt x="2547" y="1067"/>
                  </a:cubicBezTo>
                  <a:cubicBezTo>
                    <a:pt x="2564" y="1046"/>
                    <a:pt x="2572" y="1014"/>
                    <a:pt x="2572" y="972"/>
                  </a:cubicBezTo>
                  <a:cubicBezTo>
                    <a:pt x="2572" y="931"/>
                    <a:pt x="2564" y="899"/>
                    <a:pt x="2547" y="877"/>
                  </a:cubicBezTo>
                  <a:cubicBezTo>
                    <a:pt x="2530" y="855"/>
                    <a:pt x="2507" y="845"/>
                    <a:pt x="2475" y="845"/>
                  </a:cubicBezTo>
                  <a:moveTo>
                    <a:pt x="2862" y="1148"/>
                  </a:moveTo>
                  <a:cubicBezTo>
                    <a:pt x="2811" y="1148"/>
                    <a:pt x="2770" y="1133"/>
                    <a:pt x="2741" y="1103"/>
                  </a:cubicBezTo>
                  <a:cubicBezTo>
                    <a:pt x="2711" y="1073"/>
                    <a:pt x="2696" y="1031"/>
                    <a:pt x="2696" y="980"/>
                  </a:cubicBezTo>
                  <a:cubicBezTo>
                    <a:pt x="2696" y="923"/>
                    <a:pt x="2711" y="878"/>
                    <a:pt x="2740" y="846"/>
                  </a:cubicBezTo>
                  <a:cubicBezTo>
                    <a:pt x="2769" y="814"/>
                    <a:pt x="2810" y="798"/>
                    <a:pt x="2862" y="798"/>
                  </a:cubicBezTo>
                  <a:cubicBezTo>
                    <a:pt x="2898" y="798"/>
                    <a:pt x="2927" y="806"/>
                    <a:pt x="2949" y="822"/>
                  </a:cubicBezTo>
                  <a:cubicBezTo>
                    <a:pt x="2970" y="839"/>
                    <a:pt x="2982" y="861"/>
                    <a:pt x="2983" y="890"/>
                  </a:cubicBezTo>
                  <a:cubicBezTo>
                    <a:pt x="2983" y="895"/>
                    <a:pt x="2983" y="895"/>
                    <a:pt x="2983" y="895"/>
                  </a:cubicBezTo>
                  <a:cubicBezTo>
                    <a:pt x="2924" y="895"/>
                    <a:pt x="2924" y="895"/>
                    <a:pt x="2924" y="895"/>
                  </a:cubicBezTo>
                  <a:cubicBezTo>
                    <a:pt x="2924" y="890"/>
                    <a:pt x="2924" y="890"/>
                    <a:pt x="2924" y="890"/>
                  </a:cubicBezTo>
                  <a:cubicBezTo>
                    <a:pt x="2924" y="877"/>
                    <a:pt x="2917" y="866"/>
                    <a:pt x="2905" y="856"/>
                  </a:cubicBezTo>
                  <a:cubicBezTo>
                    <a:pt x="2892" y="847"/>
                    <a:pt x="2876" y="842"/>
                    <a:pt x="2856" y="842"/>
                  </a:cubicBezTo>
                  <a:cubicBezTo>
                    <a:pt x="2824" y="842"/>
                    <a:pt x="2799" y="854"/>
                    <a:pt x="2781" y="877"/>
                  </a:cubicBezTo>
                  <a:cubicBezTo>
                    <a:pt x="2762" y="900"/>
                    <a:pt x="2753" y="933"/>
                    <a:pt x="2753" y="974"/>
                  </a:cubicBezTo>
                  <a:cubicBezTo>
                    <a:pt x="2753" y="1015"/>
                    <a:pt x="2763" y="1046"/>
                    <a:pt x="2782" y="1068"/>
                  </a:cubicBezTo>
                  <a:cubicBezTo>
                    <a:pt x="2801" y="1090"/>
                    <a:pt x="2829" y="1101"/>
                    <a:pt x="2864" y="1101"/>
                  </a:cubicBezTo>
                  <a:cubicBezTo>
                    <a:pt x="2873" y="1101"/>
                    <a:pt x="2883" y="1100"/>
                    <a:pt x="2893" y="1098"/>
                  </a:cubicBezTo>
                  <a:cubicBezTo>
                    <a:pt x="2902" y="1096"/>
                    <a:pt x="2913" y="1094"/>
                    <a:pt x="2926" y="1091"/>
                  </a:cubicBezTo>
                  <a:cubicBezTo>
                    <a:pt x="2926" y="1002"/>
                    <a:pt x="2926" y="1002"/>
                    <a:pt x="2926" y="1002"/>
                  </a:cubicBezTo>
                  <a:cubicBezTo>
                    <a:pt x="2857" y="1002"/>
                    <a:pt x="2857" y="1002"/>
                    <a:pt x="2857" y="1002"/>
                  </a:cubicBezTo>
                  <a:cubicBezTo>
                    <a:pt x="2857" y="955"/>
                    <a:pt x="2857" y="955"/>
                    <a:pt x="2857" y="955"/>
                  </a:cubicBezTo>
                  <a:cubicBezTo>
                    <a:pt x="2983" y="955"/>
                    <a:pt x="2983" y="955"/>
                    <a:pt x="2983" y="955"/>
                  </a:cubicBezTo>
                  <a:cubicBezTo>
                    <a:pt x="2983" y="1125"/>
                    <a:pt x="2983" y="1125"/>
                    <a:pt x="2983" y="1125"/>
                  </a:cubicBezTo>
                  <a:cubicBezTo>
                    <a:pt x="2979" y="1127"/>
                    <a:pt x="2979" y="1127"/>
                    <a:pt x="2979" y="1127"/>
                  </a:cubicBezTo>
                  <a:cubicBezTo>
                    <a:pt x="2957" y="1134"/>
                    <a:pt x="2937" y="1139"/>
                    <a:pt x="2918" y="1143"/>
                  </a:cubicBezTo>
                  <a:cubicBezTo>
                    <a:pt x="2899" y="1146"/>
                    <a:pt x="2880" y="1148"/>
                    <a:pt x="2862" y="1148"/>
                  </a:cubicBezTo>
                  <a:moveTo>
                    <a:pt x="3139" y="1142"/>
                  </a:moveTo>
                  <a:cubicBezTo>
                    <a:pt x="3084" y="1142"/>
                    <a:pt x="3084" y="1142"/>
                    <a:pt x="3084" y="1142"/>
                  </a:cubicBezTo>
                  <a:cubicBezTo>
                    <a:pt x="3084" y="803"/>
                    <a:pt x="3084" y="803"/>
                    <a:pt x="3084" y="803"/>
                  </a:cubicBezTo>
                  <a:cubicBezTo>
                    <a:pt x="3139" y="803"/>
                    <a:pt x="3139" y="803"/>
                    <a:pt x="3139" y="803"/>
                  </a:cubicBezTo>
                  <a:lnTo>
                    <a:pt x="3139" y="1142"/>
                  </a:lnTo>
                  <a:close/>
                  <a:moveTo>
                    <a:pt x="3461" y="1142"/>
                  </a:moveTo>
                  <a:cubicBezTo>
                    <a:pt x="3243" y="1142"/>
                    <a:pt x="3243" y="1142"/>
                    <a:pt x="3243" y="1142"/>
                  </a:cubicBezTo>
                  <a:cubicBezTo>
                    <a:pt x="3243" y="803"/>
                    <a:pt x="3243" y="803"/>
                    <a:pt x="3243" y="803"/>
                  </a:cubicBezTo>
                  <a:cubicBezTo>
                    <a:pt x="3458" y="803"/>
                    <a:pt x="3458" y="803"/>
                    <a:pt x="3458" y="803"/>
                  </a:cubicBezTo>
                  <a:cubicBezTo>
                    <a:pt x="3458" y="853"/>
                    <a:pt x="3458" y="853"/>
                    <a:pt x="3458" y="853"/>
                  </a:cubicBezTo>
                  <a:cubicBezTo>
                    <a:pt x="3298" y="853"/>
                    <a:pt x="3298" y="853"/>
                    <a:pt x="3298" y="853"/>
                  </a:cubicBezTo>
                  <a:cubicBezTo>
                    <a:pt x="3298" y="942"/>
                    <a:pt x="3298" y="942"/>
                    <a:pt x="3298" y="942"/>
                  </a:cubicBezTo>
                  <a:cubicBezTo>
                    <a:pt x="3451" y="942"/>
                    <a:pt x="3451" y="942"/>
                    <a:pt x="3451" y="942"/>
                  </a:cubicBezTo>
                  <a:cubicBezTo>
                    <a:pt x="3451" y="991"/>
                    <a:pt x="3451" y="991"/>
                    <a:pt x="3451" y="991"/>
                  </a:cubicBezTo>
                  <a:cubicBezTo>
                    <a:pt x="3298" y="991"/>
                    <a:pt x="3298" y="991"/>
                    <a:pt x="3298" y="991"/>
                  </a:cubicBezTo>
                  <a:cubicBezTo>
                    <a:pt x="3298" y="1092"/>
                    <a:pt x="3298" y="1092"/>
                    <a:pt x="3298" y="1092"/>
                  </a:cubicBezTo>
                  <a:cubicBezTo>
                    <a:pt x="3461" y="1092"/>
                    <a:pt x="3461" y="1092"/>
                    <a:pt x="3461" y="1092"/>
                  </a:cubicBezTo>
                  <a:lnTo>
                    <a:pt x="3461" y="1142"/>
                  </a:lnTo>
                  <a:close/>
                  <a:moveTo>
                    <a:pt x="3656" y="1148"/>
                  </a:moveTo>
                  <a:cubicBezTo>
                    <a:pt x="3615" y="1148"/>
                    <a:pt x="3583" y="1139"/>
                    <a:pt x="3562" y="1123"/>
                  </a:cubicBezTo>
                  <a:cubicBezTo>
                    <a:pt x="3541" y="1105"/>
                    <a:pt x="3530" y="1080"/>
                    <a:pt x="3530" y="1046"/>
                  </a:cubicBezTo>
                  <a:cubicBezTo>
                    <a:pt x="3530" y="1035"/>
                    <a:pt x="3530" y="1035"/>
                    <a:pt x="3530" y="1035"/>
                  </a:cubicBezTo>
                  <a:cubicBezTo>
                    <a:pt x="3588" y="1035"/>
                    <a:pt x="3588" y="1035"/>
                    <a:pt x="3588" y="1035"/>
                  </a:cubicBezTo>
                  <a:cubicBezTo>
                    <a:pt x="3588" y="1040"/>
                    <a:pt x="3588" y="1040"/>
                    <a:pt x="3588" y="1040"/>
                  </a:cubicBezTo>
                  <a:cubicBezTo>
                    <a:pt x="3589" y="1060"/>
                    <a:pt x="3595" y="1075"/>
                    <a:pt x="3606" y="1084"/>
                  </a:cubicBezTo>
                  <a:cubicBezTo>
                    <a:pt x="3617" y="1093"/>
                    <a:pt x="3635" y="1098"/>
                    <a:pt x="3658" y="1098"/>
                  </a:cubicBezTo>
                  <a:cubicBezTo>
                    <a:pt x="3682" y="1098"/>
                    <a:pt x="3700" y="1093"/>
                    <a:pt x="3714" y="1084"/>
                  </a:cubicBezTo>
                  <a:cubicBezTo>
                    <a:pt x="3727" y="1075"/>
                    <a:pt x="3733" y="1062"/>
                    <a:pt x="3733" y="1046"/>
                  </a:cubicBezTo>
                  <a:cubicBezTo>
                    <a:pt x="3733" y="1024"/>
                    <a:pt x="3709" y="1007"/>
                    <a:pt x="3660" y="995"/>
                  </a:cubicBezTo>
                  <a:cubicBezTo>
                    <a:pt x="3655" y="993"/>
                    <a:pt x="3651" y="992"/>
                    <a:pt x="3647" y="991"/>
                  </a:cubicBezTo>
                  <a:cubicBezTo>
                    <a:pt x="3644" y="991"/>
                    <a:pt x="3639" y="989"/>
                    <a:pt x="3632" y="988"/>
                  </a:cubicBezTo>
                  <a:cubicBezTo>
                    <a:pt x="3604" y="981"/>
                    <a:pt x="3584" y="974"/>
                    <a:pt x="3572" y="967"/>
                  </a:cubicBezTo>
                  <a:cubicBezTo>
                    <a:pt x="3560" y="959"/>
                    <a:pt x="3551" y="949"/>
                    <a:pt x="3544" y="937"/>
                  </a:cubicBezTo>
                  <a:cubicBezTo>
                    <a:pt x="3537" y="925"/>
                    <a:pt x="3534" y="911"/>
                    <a:pt x="3534" y="896"/>
                  </a:cubicBezTo>
                  <a:cubicBezTo>
                    <a:pt x="3534" y="866"/>
                    <a:pt x="3546" y="841"/>
                    <a:pt x="3569" y="824"/>
                  </a:cubicBezTo>
                  <a:cubicBezTo>
                    <a:pt x="3592" y="807"/>
                    <a:pt x="3624" y="798"/>
                    <a:pt x="3663" y="798"/>
                  </a:cubicBezTo>
                  <a:cubicBezTo>
                    <a:pt x="3698" y="798"/>
                    <a:pt x="3726" y="806"/>
                    <a:pt x="3747" y="821"/>
                  </a:cubicBezTo>
                  <a:cubicBezTo>
                    <a:pt x="3768" y="837"/>
                    <a:pt x="3778" y="858"/>
                    <a:pt x="3778" y="885"/>
                  </a:cubicBezTo>
                  <a:cubicBezTo>
                    <a:pt x="3778" y="895"/>
                    <a:pt x="3778" y="895"/>
                    <a:pt x="3778" y="895"/>
                  </a:cubicBezTo>
                  <a:cubicBezTo>
                    <a:pt x="3724" y="895"/>
                    <a:pt x="3724" y="895"/>
                    <a:pt x="3724" y="895"/>
                  </a:cubicBezTo>
                  <a:cubicBezTo>
                    <a:pt x="3723" y="890"/>
                    <a:pt x="3723" y="890"/>
                    <a:pt x="3723" y="890"/>
                  </a:cubicBezTo>
                  <a:cubicBezTo>
                    <a:pt x="3723" y="875"/>
                    <a:pt x="3717" y="865"/>
                    <a:pt x="3707" y="857"/>
                  </a:cubicBezTo>
                  <a:cubicBezTo>
                    <a:pt x="3696" y="849"/>
                    <a:pt x="3680" y="845"/>
                    <a:pt x="3659" y="845"/>
                  </a:cubicBezTo>
                  <a:cubicBezTo>
                    <a:pt x="3638" y="845"/>
                    <a:pt x="3621" y="850"/>
                    <a:pt x="3609" y="859"/>
                  </a:cubicBezTo>
                  <a:cubicBezTo>
                    <a:pt x="3597" y="867"/>
                    <a:pt x="3591" y="879"/>
                    <a:pt x="3591" y="893"/>
                  </a:cubicBezTo>
                  <a:cubicBezTo>
                    <a:pt x="3591" y="912"/>
                    <a:pt x="3613" y="927"/>
                    <a:pt x="3657" y="938"/>
                  </a:cubicBezTo>
                  <a:cubicBezTo>
                    <a:pt x="3666" y="940"/>
                    <a:pt x="3666" y="940"/>
                    <a:pt x="3666" y="940"/>
                  </a:cubicBezTo>
                  <a:cubicBezTo>
                    <a:pt x="3719" y="954"/>
                    <a:pt x="3751" y="967"/>
                    <a:pt x="3766" y="981"/>
                  </a:cubicBezTo>
                  <a:cubicBezTo>
                    <a:pt x="3781" y="995"/>
                    <a:pt x="3789" y="1015"/>
                    <a:pt x="3789" y="1040"/>
                  </a:cubicBezTo>
                  <a:cubicBezTo>
                    <a:pt x="3789" y="1075"/>
                    <a:pt x="3777" y="1102"/>
                    <a:pt x="3754" y="1120"/>
                  </a:cubicBezTo>
                  <a:cubicBezTo>
                    <a:pt x="3731" y="1138"/>
                    <a:pt x="3698" y="1148"/>
                    <a:pt x="3656" y="1148"/>
                  </a:cubicBezTo>
                  <a:moveTo>
                    <a:pt x="25" y="605"/>
                  </a:moveTo>
                  <a:cubicBezTo>
                    <a:pt x="25" y="11"/>
                    <a:pt x="25" y="11"/>
                    <a:pt x="25" y="11"/>
                  </a:cubicBezTo>
                  <a:cubicBezTo>
                    <a:pt x="152" y="11"/>
                    <a:pt x="152" y="11"/>
                    <a:pt x="152" y="11"/>
                  </a:cubicBezTo>
                  <a:cubicBezTo>
                    <a:pt x="152" y="268"/>
                    <a:pt x="152" y="268"/>
                    <a:pt x="152" y="268"/>
                  </a:cubicBezTo>
                  <a:cubicBezTo>
                    <a:pt x="346" y="11"/>
                    <a:pt x="346" y="11"/>
                    <a:pt x="346" y="11"/>
                  </a:cubicBezTo>
                  <a:cubicBezTo>
                    <a:pt x="488" y="11"/>
                    <a:pt x="488" y="11"/>
                    <a:pt x="488" y="11"/>
                  </a:cubicBezTo>
                  <a:cubicBezTo>
                    <a:pt x="279" y="277"/>
                    <a:pt x="279" y="277"/>
                    <a:pt x="279" y="277"/>
                  </a:cubicBezTo>
                  <a:cubicBezTo>
                    <a:pt x="509" y="605"/>
                    <a:pt x="509" y="605"/>
                    <a:pt x="509" y="605"/>
                  </a:cubicBezTo>
                  <a:cubicBezTo>
                    <a:pt x="361" y="605"/>
                    <a:pt x="361" y="605"/>
                    <a:pt x="361" y="605"/>
                  </a:cubicBezTo>
                  <a:cubicBezTo>
                    <a:pt x="152" y="297"/>
                    <a:pt x="152" y="297"/>
                    <a:pt x="152" y="297"/>
                  </a:cubicBezTo>
                  <a:cubicBezTo>
                    <a:pt x="152" y="605"/>
                    <a:pt x="152" y="605"/>
                    <a:pt x="152" y="605"/>
                  </a:cubicBezTo>
                  <a:cubicBezTo>
                    <a:pt x="25" y="605"/>
                    <a:pt x="25" y="605"/>
                    <a:pt x="25" y="605"/>
                  </a:cubicBezTo>
                  <a:close/>
                  <a:moveTo>
                    <a:pt x="553" y="605"/>
                  </a:moveTo>
                  <a:cubicBezTo>
                    <a:pt x="553" y="11"/>
                    <a:pt x="553" y="11"/>
                    <a:pt x="553" y="11"/>
                  </a:cubicBezTo>
                  <a:cubicBezTo>
                    <a:pt x="947" y="11"/>
                    <a:pt x="947" y="11"/>
                    <a:pt x="947" y="11"/>
                  </a:cubicBezTo>
                  <a:cubicBezTo>
                    <a:pt x="947" y="109"/>
                    <a:pt x="947" y="109"/>
                    <a:pt x="947" y="109"/>
                  </a:cubicBezTo>
                  <a:cubicBezTo>
                    <a:pt x="682" y="109"/>
                    <a:pt x="682" y="109"/>
                    <a:pt x="682" y="109"/>
                  </a:cubicBezTo>
                  <a:cubicBezTo>
                    <a:pt x="682" y="249"/>
                    <a:pt x="682" y="249"/>
                    <a:pt x="682" y="249"/>
                  </a:cubicBezTo>
                  <a:cubicBezTo>
                    <a:pt x="931" y="249"/>
                    <a:pt x="931" y="249"/>
                    <a:pt x="931" y="249"/>
                  </a:cubicBezTo>
                  <a:cubicBezTo>
                    <a:pt x="931" y="346"/>
                    <a:pt x="931" y="346"/>
                    <a:pt x="931" y="346"/>
                  </a:cubicBezTo>
                  <a:cubicBezTo>
                    <a:pt x="682" y="346"/>
                    <a:pt x="682" y="346"/>
                    <a:pt x="682" y="346"/>
                  </a:cubicBezTo>
                  <a:cubicBezTo>
                    <a:pt x="682" y="506"/>
                    <a:pt x="682" y="506"/>
                    <a:pt x="682" y="506"/>
                  </a:cubicBezTo>
                  <a:cubicBezTo>
                    <a:pt x="957" y="506"/>
                    <a:pt x="957" y="506"/>
                    <a:pt x="957" y="506"/>
                  </a:cubicBezTo>
                  <a:cubicBezTo>
                    <a:pt x="957" y="605"/>
                    <a:pt x="957" y="605"/>
                    <a:pt x="957" y="605"/>
                  </a:cubicBezTo>
                  <a:lnTo>
                    <a:pt x="553" y="605"/>
                  </a:lnTo>
                  <a:close/>
                  <a:moveTo>
                    <a:pt x="1190" y="605"/>
                  </a:moveTo>
                  <a:cubicBezTo>
                    <a:pt x="1190" y="386"/>
                    <a:pt x="1190" y="386"/>
                    <a:pt x="1190" y="386"/>
                  </a:cubicBezTo>
                  <a:cubicBezTo>
                    <a:pt x="989" y="11"/>
                    <a:pt x="989" y="11"/>
                    <a:pt x="989" y="11"/>
                  </a:cubicBezTo>
                  <a:cubicBezTo>
                    <a:pt x="1123" y="11"/>
                    <a:pt x="1123" y="11"/>
                    <a:pt x="1123" y="11"/>
                  </a:cubicBezTo>
                  <a:cubicBezTo>
                    <a:pt x="1259" y="265"/>
                    <a:pt x="1259" y="265"/>
                    <a:pt x="1259" y="265"/>
                  </a:cubicBezTo>
                  <a:cubicBezTo>
                    <a:pt x="1382" y="11"/>
                    <a:pt x="1382" y="11"/>
                    <a:pt x="1382" y="11"/>
                  </a:cubicBezTo>
                  <a:cubicBezTo>
                    <a:pt x="1515" y="11"/>
                    <a:pt x="1515" y="11"/>
                    <a:pt x="1515" y="11"/>
                  </a:cubicBezTo>
                  <a:cubicBezTo>
                    <a:pt x="1317" y="386"/>
                    <a:pt x="1317" y="386"/>
                    <a:pt x="1317" y="386"/>
                  </a:cubicBezTo>
                  <a:cubicBezTo>
                    <a:pt x="1317" y="605"/>
                    <a:pt x="1317" y="605"/>
                    <a:pt x="1317" y="605"/>
                  </a:cubicBezTo>
                  <a:lnTo>
                    <a:pt x="1190" y="605"/>
                  </a:lnTo>
                  <a:close/>
                  <a:moveTo>
                    <a:pt x="1504" y="412"/>
                  </a:moveTo>
                  <a:cubicBezTo>
                    <a:pt x="1629" y="412"/>
                    <a:pt x="1629" y="412"/>
                    <a:pt x="1629" y="412"/>
                  </a:cubicBezTo>
                  <a:cubicBezTo>
                    <a:pt x="1629" y="452"/>
                    <a:pt x="1638" y="481"/>
                    <a:pt x="1658" y="501"/>
                  </a:cubicBezTo>
                  <a:cubicBezTo>
                    <a:pt x="1678" y="521"/>
                    <a:pt x="1707" y="531"/>
                    <a:pt x="1746" y="531"/>
                  </a:cubicBezTo>
                  <a:cubicBezTo>
                    <a:pt x="1778" y="531"/>
                    <a:pt x="1803" y="524"/>
                    <a:pt x="1823" y="508"/>
                  </a:cubicBezTo>
                  <a:cubicBezTo>
                    <a:pt x="1843" y="493"/>
                    <a:pt x="1853" y="473"/>
                    <a:pt x="1853" y="449"/>
                  </a:cubicBezTo>
                  <a:cubicBezTo>
                    <a:pt x="1853" y="412"/>
                    <a:pt x="1806" y="377"/>
                    <a:pt x="1713" y="346"/>
                  </a:cubicBezTo>
                  <a:cubicBezTo>
                    <a:pt x="1699" y="341"/>
                    <a:pt x="1699" y="341"/>
                    <a:pt x="1699" y="341"/>
                  </a:cubicBezTo>
                  <a:cubicBezTo>
                    <a:pt x="1696" y="340"/>
                    <a:pt x="1692" y="339"/>
                    <a:pt x="1687" y="337"/>
                  </a:cubicBezTo>
                  <a:cubicBezTo>
                    <a:pt x="1635" y="320"/>
                    <a:pt x="1597" y="303"/>
                    <a:pt x="1574" y="286"/>
                  </a:cubicBezTo>
                  <a:cubicBezTo>
                    <a:pt x="1558" y="273"/>
                    <a:pt x="1545" y="257"/>
                    <a:pt x="1536" y="238"/>
                  </a:cubicBezTo>
                  <a:cubicBezTo>
                    <a:pt x="1527" y="219"/>
                    <a:pt x="1522" y="198"/>
                    <a:pt x="1522" y="174"/>
                  </a:cubicBezTo>
                  <a:cubicBezTo>
                    <a:pt x="1522" y="121"/>
                    <a:pt x="1542" y="78"/>
                    <a:pt x="1583" y="47"/>
                  </a:cubicBezTo>
                  <a:cubicBezTo>
                    <a:pt x="1623" y="16"/>
                    <a:pt x="1679" y="0"/>
                    <a:pt x="1749" y="0"/>
                  </a:cubicBezTo>
                  <a:cubicBezTo>
                    <a:pt x="1814" y="0"/>
                    <a:pt x="1864" y="15"/>
                    <a:pt x="1900" y="46"/>
                  </a:cubicBezTo>
                  <a:cubicBezTo>
                    <a:pt x="1936" y="76"/>
                    <a:pt x="1954" y="119"/>
                    <a:pt x="1954" y="173"/>
                  </a:cubicBezTo>
                  <a:cubicBezTo>
                    <a:pt x="1954" y="177"/>
                    <a:pt x="1954" y="177"/>
                    <a:pt x="1954" y="177"/>
                  </a:cubicBezTo>
                  <a:cubicBezTo>
                    <a:pt x="1844" y="177"/>
                    <a:pt x="1844" y="177"/>
                    <a:pt x="1844" y="177"/>
                  </a:cubicBezTo>
                  <a:cubicBezTo>
                    <a:pt x="1841" y="146"/>
                    <a:pt x="1831" y="122"/>
                    <a:pt x="1813" y="106"/>
                  </a:cubicBezTo>
                  <a:cubicBezTo>
                    <a:pt x="1796" y="90"/>
                    <a:pt x="1771" y="82"/>
                    <a:pt x="1741" y="82"/>
                  </a:cubicBezTo>
                  <a:cubicBezTo>
                    <a:pt x="1711" y="82"/>
                    <a:pt x="1687" y="89"/>
                    <a:pt x="1669" y="102"/>
                  </a:cubicBezTo>
                  <a:cubicBezTo>
                    <a:pt x="1652" y="116"/>
                    <a:pt x="1643" y="135"/>
                    <a:pt x="1643" y="158"/>
                  </a:cubicBezTo>
                  <a:cubicBezTo>
                    <a:pt x="1643" y="194"/>
                    <a:pt x="1692" y="228"/>
                    <a:pt x="1790" y="259"/>
                  </a:cubicBezTo>
                  <a:cubicBezTo>
                    <a:pt x="1797" y="262"/>
                    <a:pt x="1797" y="262"/>
                    <a:pt x="1797" y="262"/>
                  </a:cubicBezTo>
                  <a:cubicBezTo>
                    <a:pt x="1872" y="287"/>
                    <a:pt x="1921" y="311"/>
                    <a:pt x="1945" y="336"/>
                  </a:cubicBezTo>
                  <a:cubicBezTo>
                    <a:pt x="1968" y="361"/>
                    <a:pt x="1980" y="395"/>
                    <a:pt x="1980" y="439"/>
                  </a:cubicBezTo>
                  <a:cubicBezTo>
                    <a:pt x="1980" y="494"/>
                    <a:pt x="1959" y="537"/>
                    <a:pt x="1917" y="569"/>
                  </a:cubicBezTo>
                  <a:cubicBezTo>
                    <a:pt x="1874" y="600"/>
                    <a:pt x="1815" y="616"/>
                    <a:pt x="1740" y="616"/>
                  </a:cubicBezTo>
                  <a:cubicBezTo>
                    <a:pt x="1661" y="616"/>
                    <a:pt x="1602" y="599"/>
                    <a:pt x="1563" y="567"/>
                  </a:cubicBezTo>
                  <a:cubicBezTo>
                    <a:pt x="1524" y="534"/>
                    <a:pt x="1504" y="485"/>
                    <a:pt x="1504" y="420"/>
                  </a:cubicBezTo>
                  <a:cubicBezTo>
                    <a:pt x="1504" y="412"/>
                    <a:pt x="1504" y="412"/>
                    <a:pt x="1504" y="412"/>
                  </a:cubicBezTo>
                  <a:close/>
                  <a:moveTo>
                    <a:pt x="2061" y="11"/>
                  </a:moveTo>
                  <a:cubicBezTo>
                    <a:pt x="2188" y="11"/>
                    <a:pt x="2188" y="11"/>
                    <a:pt x="2188" y="11"/>
                  </a:cubicBezTo>
                  <a:cubicBezTo>
                    <a:pt x="2188" y="605"/>
                    <a:pt x="2188" y="605"/>
                    <a:pt x="2188" y="605"/>
                  </a:cubicBezTo>
                  <a:cubicBezTo>
                    <a:pt x="2061" y="605"/>
                    <a:pt x="2061" y="605"/>
                    <a:pt x="2061" y="605"/>
                  </a:cubicBezTo>
                  <a:lnTo>
                    <a:pt x="2061" y="11"/>
                  </a:lnTo>
                  <a:close/>
                  <a:moveTo>
                    <a:pt x="2816" y="288"/>
                  </a:moveTo>
                  <a:cubicBezTo>
                    <a:pt x="2816" y="567"/>
                    <a:pt x="2816" y="567"/>
                    <a:pt x="2816" y="567"/>
                  </a:cubicBezTo>
                  <a:cubicBezTo>
                    <a:pt x="2783" y="583"/>
                    <a:pt x="2748" y="595"/>
                    <a:pt x="2711" y="603"/>
                  </a:cubicBezTo>
                  <a:cubicBezTo>
                    <a:pt x="2673" y="612"/>
                    <a:pt x="2631" y="616"/>
                    <a:pt x="2585" y="616"/>
                  </a:cubicBezTo>
                  <a:cubicBezTo>
                    <a:pt x="2485" y="616"/>
                    <a:pt x="2407" y="590"/>
                    <a:pt x="2352" y="538"/>
                  </a:cubicBezTo>
                  <a:cubicBezTo>
                    <a:pt x="2298" y="486"/>
                    <a:pt x="2270" y="412"/>
                    <a:pt x="2270" y="316"/>
                  </a:cubicBezTo>
                  <a:cubicBezTo>
                    <a:pt x="2270" y="218"/>
                    <a:pt x="2298" y="140"/>
                    <a:pt x="2353" y="85"/>
                  </a:cubicBezTo>
                  <a:cubicBezTo>
                    <a:pt x="2408" y="29"/>
                    <a:pt x="2484" y="1"/>
                    <a:pt x="2582" y="1"/>
                  </a:cubicBezTo>
                  <a:cubicBezTo>
                    <a:pt x="2655" y="1"/>
                    <a:pt x="2712" y="17"/>
                    <a:pt x="2754" y="50"/>
                  </a:cubicBezTo>
                  <a:cubicBezTo>
                    <a:pt x="2797" y="84"/>
                    <a:pt x="2818" y="128"/>
                    <a:pt x="2818" y="183"/>
                  </a:cubicBezTo>
                  <a:cubicBezTo>
                    <a:pt x="2818" y="194"/>
                    <a:pt x="2818" y="194"/>
                    <a:pt x="2818" y="194"/>
                  </a:cubicBezTo>
                  <a:cubicBezTo>
                    <a:pt x="2698" y="194"/>
                    <a:pt x="2698" y="194"/>
                    <a:pt x="2698" y="194"/>
                  </a:cubicBezTo>
                  <a:cubicBezTo>
                    <a:pt x="2696" y="157"/>
                    <a:pt x="2685" y="130"/>
                    <a:pt x="2664" y="111"/>
                  </a:cubicBezTo>
                  <a:cubicBezTo>
                    <a:pt x="2643" y="91"/>
                    <a:pt x="2614" y="82"/>
                    <a:pt x="2575" y="82"/>
                  </a:cubicBezTo>
                  <a:cubicBezTo>
                    <a:pt x="2521" y="82"/>
                    <a:pt x="2478" y="102"/>
                    <a:pt x="2447" y="144"/>
                  </a:cubicBezTo>
                  <a:cubicBezTo>
                    <a:pt x="2416" y="185"/>
                    <a:pt x="2400" y="241"/>
                    <a:pt x="2400" y="312"/>
                  </a:cubicBezTo>
                  <a:cubicBezTo>
                    <a:pt x="2400" y="382"/>
                    <a:pt x="2416" y="435"/>
                    <a:pt x="2449" y="471"/>
                  </a:cubicBezTo>
                  <a:cubicBezTo>
                    <a:pt x="2482" y="507"/>
                    <a:pt x="2531" y="525"/>
                    <a:pt x="2595" y="525"/>
                  </a:cubicBezTo>
                  <a:cubicBezTo>
                    <a:pt x="2611" y="525"/>
                    <a:pt x="2628" y="524"/>
                    <a:pt x="2644" y="522"/>
                  </a:cubicBezTo>
                  <a:cubicBezTo>
                    <a:pt x="2660" y="520"/>
                    <a:pt x="2676" y="517"/>
                    <a:pt x="2692" y="513"/>
                  </a:cubicBezTo>
                  <a:cubicBezTo>
                    <a:pt x="2692" y="383"/>
                    <a:pt x="2692" y="383"/>
                    <a:pt x="2692" y="383"/>
                  </a:cubicBezTo>
                  <a:cubicBezTo>
                    <a:pt x="2579" y="383"/>
                    <a:pt x="2579" y="383"/>
                    <a:pt x="2579" y="383"/>
                  </a:cubicBezTo>
                  <a:cubicBezTo>
                    <a:pt x="2579" y="288"/>
                    <a:pt x="2579" y="288"/>
                    <a:pt x="2579" y="288"/>
                  </a:cubicBezTo>
                  <a:lnTo>
                    <a:pt x="2816" y="288"/>
                  </a:lnTo>
                  <a:close/>
                  <a:moveTo>
                    <a:pt x="2920" y="605"/>
                  </a:moveTo>
                  <a:cubicBezTo>
                    <a:pt x="2920" y="11"/>
                    <a:pt x="2920" y="11"/>
                    <a:pt x="2920" y="11"/>
                  </a:cubicBezTo>
                  <a:cubicBezTo>
                    <a:pt x="3048" y="11"/>
                    <a:pt x="3048" y="11"/>
                    <a:pt x="3048" y="11"/>
                  </a:cubicBezTo>
                  <a:cubicBezTo>
                    <a:pt x="3048" y="248"/>
                    <a:pt x="3048" y="248"/>
                    <a:pt x="3048" y="248"/>
                  </a:cubicBezTo>
                  <a:cubicBezTo>
                    <a:pt x="3273" y="248"/>
                    <a:pt x="3273" y="248"/>
                    <a:pt x="3273" y="248"/>
                  </a:cubicBezTo>
                  <a:cubicBezTo>
                    <a:pt x="3273" y="11"/>
                    <a:pt x="3273" y="11"/>
                    <a:pt x="3273" y="11"/>
                  </a:cubicBezTo>
                  <a:cubicBezTo>
                    <a:pt x="3397" y="11"/>
                    <a:pt x="3397" y="11"/>
                    <a:pt x="3397" y="11"/>
                  </a:cubicBezTo>
                  <a:cubicBezTo>
                    <a:pt x="3397" y="605"/>
                    <a:pt x="3397" y="605"/>
                    <a:pt x="3397" y="605"/>
                  </a:cubicBezTo>
                  <a:cubicBezTo>
                    <a:pt x="3273" y="605"/>
                    <a:pt x="3273" y="605"/>
                    <a:pt x="3273" y="605"/>
                  </a:cubicBezTo>
                  <a:cubicBezTo>
                    <a:pt x="3273" y="345"/>
                    <a:pt x="3273" y="345"/>
                    <a:pt x="3273" y="345"/>
                  </a:cubicBezTo>
                  <a:cubicBezTo>
                    <a:pt x="3048" y="345"/>
                    <a:pt x="3048" y="345"/>
                    <a:pt x="3048" y="345"/>
                  </a:cubicBezTo>
                  <a:cubicBezTo>
                    <a:pt x="3048" y="605"/>
                    <a:pt x="3048" y="605"/>
                    <a:pt x="3048" y="605"/>
                  </a:cubicBezTo>
                  <a:lnTo>
                    <a:pt x="2920" y="605"/>
                  </a:lnTo>
                  <a:close/>
                  <a:moveTo>
                    <a:pt x="3628" y="605"/>
                  </a:moveTo>
                  <a:cubicBezTo>
                    <a:pt x="3628" y="107"/>
                    <a:pt x="3628" y="107"/>
                    <a:pt x="3628" y="107"/>
                  </a:cubicBezTo>
                  <a:cubicBezTo>
                    <a:pt x="3453" y="107"/>
                    <a:pt x="3453" y="107"/>
                    <a:pt x="3453" y="107"/>
                  </a:cubicBezTo>
                  <a:cubicBezTo>
                    <a:pt x="3453" y="11"/>
                    <a:pt x="3453" y="11"/>
                    <a:pt x="3453" y="11"/>
                  </a:cubicBezTo>
                  <a:cubicBezTo>
                    <a:pt x="3931" y="11"/>
                    <a:pt x="3931" y="11"/>
                    <a:pt x="3931" y="11"/>
                  </a:cubicBezTo>
                  <a:cubicBezTo>
                    <a:pt x="3931" y="107"/>
                    <a:pt x="3931" y="107"/>
                    <a:pt x="3931" y="107"/>
                  </a:cubicBezTo>
                  <a:cubicBezTo>
                    <a:pt x="3756" y="107"/>
                    <a:pt x="3756" y="107"/>
                    <a:pt x="3756" y="107"/>
                  </a:cubicBezTo>
                  <a:cubicBezTo>
                    <a:pt x="3756" y="605"/>
                    <a:pt x="3756" y="605"/>
                    <a:pt x="3756" y="605"/>
                  </a:cubicBezTo>
                  <a:lnTo>
                    <a:pt x="3628" y="605"/>
                  </a:lnTo>
                  <a:close/>
                </a:path>
              </a:pathLst>
            </a:custGeom>
            <a:solidFill>
              <a:srgbClr val="5555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710CFBDD-008A-42F6-B152-7F57EF7924FE}"/>
                </a:ext>
              </a:extLst>
            </p:cNvPr>
            <p:cNvSpPr>
              <a:spLocks/>
            </p:cNvSpPr>
            <p:nvPr userDrawn="1"/>
          </p:nvSpPr>
          <p:spPr bwMode="black">
            <a:xfrm>
              <a:off x="1231901" y="5359401"/>
              <a:ext cx="3417888" cy="2630487"/>
            </a:xfrm>
            <a:custGeom>
              <a:avLst/>
              <a:gdLst>
                <a:gd name="T0" fmla="*/ 1831 w 1831"/>
                <a:gd name="T1" fmla="*/ 726 h 1406"/>
                <a:gd name="T2" fmla="*/ 1765 w 1831"/>
                <a:gd name="T3" fmla="*/ 626 h 1406"/>
                <a:gd name="T4" fmla="*/ 1654 w 1831"/>
                <a:gd name="T5" fmla="*/ 379 h 1406"/>
                <a:gd name="T6" fmla="*/ 1533 w 1831"/>
                <a:gd name="T7" fmla="*/ 626 h 1406"/>
                <a:gd name="T8" fmla="*/ 1456 w 1831"/>
                <a:gd name="T9" fmla="*/ 726 h 1406"/>
                <a:gd name="T10" fmla="*/ 1339 w 1831"/>
                <a:gd name="T11" fmla="*/ 505 h 1406"/>
                <a:gd name="T12" fmla="*/ 1119 w 1831"/>
                <a:gd name="T13" fmla="*/ 0 h 1406"/>
                <a:gd name="T14" fmla="*/ 911 w 1831"/>
                <a:gd name="T15" fmla="*/ 506 h 1406"/>
                <a:gd name="T16" fmla="*/ 757 w 1831"/>
                <a:gd name="T17" fmla="*/ 726 h 1406"/>
                <a:gd name="T18" fmla="*/ 626 w 1831"/>
                <a:gd name="T19" fmla="*/ 553 h 1406"/>
                <a:gd name="T20" fmla="*/ 458 w 1831"/>
                <a:gd name="T21" fmla="*/ 218 h 1406"/>
                <a:gd name="T22" fmla="*/ 288 w 1831"/>
                <a:gd name="T23" fmla="*/ 562 h 1406"/>
                <a:gd name="T24" fmla="*/ 153 w 1831"/>
                <a:gd name="T25" fmla="*/ 726 h 1406"/>
                <a:gd name="T26" fmla="*/ 0 w 1831"/>
                <a:gd name="T27" fmla="*/ 726 h 1406"/>
                <a:gd name="T28" fmla="*/ 0 w 1831"/>
                <a:gd name="T29" fmla="*/ 727 h 1406"/>
                <a:gd name="T30" fmla="*/ 70 w 1831"/>
                <a:gd name="T31" fmla="*/ 830 h 1406"/>
                <a:gd name="T32" fmla="*/ 166 w 1831"/>
                <a:gd name="T33" fmla="*/ 1075 h 1406"/>
                <a:gd name="T34" fmla="*/ 268 w 1831"/>
                <a:gd name="T35" fmla="*/ 869 h 1406"/>
                <a:gd name="T36" fmla="*/ 374 w 1831"/>
                <a:gd name="T37" fmla="*/ 727 h 1406"/>
                <a:gd name="T38" fmla="*/ 506 w 1831"/>
                <a:gd name="T39" fmla="*/ 958 h 1406"/>
                <a:gd name="T40" fmla="*/ 707 w 1831"/>
                <a:gd name="T41" fmla="*/ 1406 h 1406"/>
                <a:gd name="T42" fmla="*/ 915 w 1831"/>
                <a:gd name="T43" fmla="*/ 958 h 1406"/>
                <a:gd name="T44" fmla="*/ 1083 w 1831"/>
                <a:gd name="T45" fmla="*/ 727 h 1406"/>
                <a:gd name="T46" fmla="*/ 1234 w 1831"/>
                <a:gd name="T47" fmla="*/ 901 h 1406"/>
                <a:gd name="T48" fmla="*/ 1380 w 1831"/>
                <a:gd name="T49" fmla="*/ 1131 h 1406"/>
                <a:gd name="T50" fmla="*/ 1534 w 1831"/>
                <a:gd name="T51" fmla="*/ 873 h 1406"/>
                <a:gd name="T52" fmla="*/ 1677 w 1831"/>
                <a:gd name="T53" fmla="*/ 727 h 1406"/>
                <a:gd name="T54" fmla="*/ 1831 w 1831"/>
                <a:gd name="T55" fmla="*/ 727 h 1406"/>
                <a:gd name="T56" fmla="*/ 1831 w 1831"/>
                <a:gd name="T57" fmla="*/ 726 h 1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1" h="1406">
                  <a:moveTo>
                    <a:pt x="1831" y="726"/>
                  </a:moveTo>
                  <a:cubicBezTo>
                    <a:pt x="1817" y="724"/>
                    <a:pt x="1786" y="709"/>
                    <a:pt x="1765" y="626"/>
                  </a:cubicBezTo>
                  <a:cubicBezTo>
                    <a:pt x="1730" y="493"/>
                    <a:pt x="1713" y="379"/>
                    <a:pt x="1654" y="379"/>
                  </a:cubicBezTo>
                  <a:cubicBezTo>
                    <a:pt x="1595" y="379"/>
                    <a:pt x="1568" y="493"/>
                    <a:pt x="1533" y="626"/>
                  </a:cubicBezTo>
                  <a:cubicBezTo>
                    <a:pt x="1512" y="705"/>
                    <a:pt x="1491" y="726"/>
                    <a:pt x="1456" y="726"/>
                  </a:cubicBezTo>
                  <a:cubicBezTo>
                    <a:pt x="1423" y="726"/>
                    <a:pt x="1389" y="711"/>
                    <a:pt x="1339" y="505"/>
                  </a:cubicBezTo>
                  <a:cubicBezTo>
                    <a:pt x="1295" y="325"/>
                    <a:pt x="1266" y="0"/>
                    <a:pt x="1119" y="0"/>
                  </a:cubicBezTo>
                  <a:cubicBezTo>
                    <a:pt x="973" y="0"/>
                    <a:pt x="930" y="424"/>
                    <a:pt x="911" y="506"/>
                  </a:cubicBezTo>
                  <a:cubicBezTo>
                    <a:pt x="887" y="607"/>
                    <a:pt x="830" y="726"/>
                    <a:pt x="757" y="726"/>
                  </a:cubicBezTo>
                  <a:cubicBezTo>
                    <a:pt x="685" y="726"/>
                    <a:pt x="647" y="643"/>
                    <a:pt x="626" y="553"/>
                  </a:cubicBezTo>
                  <a:cubicBezTo>
                    <a:pt x="592" y="416"/>
                    <a:pt x="555" y="218"/>
                    <a:pt x="458" y="218"/>
                  </a:cubicBezTo>
                  <a:cubicBezTo>
                    <a:pt x="362" y="218"/>
                    <a:pt x="331" y="382"/>
                    <a:pt x="288" y="562"/>
                  </a:cubicBezTo>
                  <a:cubicBezTo>
                    <a:pt x="263" y="668"/>
                    <a:pt x="223" y="726"/>
                    <a:pt x="153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27"/>
                    <a:pt x="0" y="727"/>
                    <a:pt x="0" y="727"/>
                  </a:cubicBezTo>
                  <a:cubicBezTo>
                    <a:pt x="20" y="733"/>
                    <a:pt x="60" y="766"/>
                    <a:pt x="70" y="830"/>
                  </a:cubicBezTo>
                  <a:cubicBezTo>
                    <a:pt x="94" y="981"/>
                    <a:pt x="113" y="1075"/>
                    <a:pt x="166" y="1075"/>
                  </a:cubicBezTo>
                  <a:cubicBezTo>
                    <a:pt x="218" y="1075"/>
                    <a:pt x="238" y="994"/>
                    <a:pt x="268" y="869"/>
                  </a:cubicBezTo>
                  <a:cubicBezTo>
                    <a:pt x="292" y="770"/>
                    <a:pt x="329" y="727"/>
                    <a:pt x="374" y="727"/>
                  </a:cubicBezTo>
                  <a:cubicBezTo>
                    <a:pt x="439" y="727"/>
                    <a:pt x="470" y="807"/>
                    <a:pt x="506" y="958"/>
                  </a:cubicBezTo>
                  <a:cubicBezTo>
                    <a:pt x="577" y="1260"/>
                    <a:pt x="592" y="1406"/>
                    <a:pt x="707" y="1406"/>
                  </a:cubicBezTo>
                  <a:cubicBezTo>
                    <a:pt x="821" y="1406"/>
                    <a:pt x="839" y="1260"/>
                    <a:pt x="915" y="958"/>
                  </a:cubicBezTo>
                  <a:cubicBezTo>
                    <a:pt x="949" y="827"/>
                    <a:pt x="1011" y="727"/>
                    <a:pt x="1083" y="727"/>
                  </a:cubicBezTo>
                  <a:cubicBezTo>
                    <a:pt x="1156" y="727"/>
                    <a:pt x="1207" y="824"/>
                    <a:pt x="1234" y="901"/>
                  </a:cubicBezTo>
                  <a:cubicBezTo>
                    <a:pt x="1291" y="1068"/>
                    <a:pt x="1317" y="1131"/>
                    <a:pt x="1380" y="1131"/>
                  </a:cubicBezTo>
                  <a:cubicBezTo>
                    <a:pt x="1443" y="1131"/>
                    <a:pt x="1478" y="1055"/>
                    <a:pt x="1534" y="873"/>
                  </a:cubicBezTo>
                  <a:cubicBezTo>
                    <a:pt x="1569" y="758"/>
                    <a:pt x="1574" y="727"/>
                    <a:pt x="1677" y="727"/>
                  </a:cubicBezTo>
                  <a:cubicBezTo>
                    <a:pt x="1831" y="727"/>
                    <a:pt x="1831" y="727"/>
                    <a:pt x="1831" y="727"/>
                  </a:cubicBezTo>
                  <a:cubicBezTo>
                    <a:pt x="1831" y="726"/>
                    <a:pt x="1831" y="726"/>
                    <a:pt x="1831" y="726"/>
                  </a:cubicBezTo>
                  <a:close/>
                </a:path>
              </a:pathLst>
            </a:custGeom>
            <a:solidFill>
              <a:srgbClr val="EB00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B7BE8C-9254-49C6-B935-75CCECC5C1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47297"/>
            <a:ext cx="41148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Optional Title of the Presentation</a:t>
            </a:r>
          </a:p>
        </p:txBody>
      </p:sp>
    </p:spTree>
    <p:extLst>
      <p:ext uri="{BB962C8B-B14F-4D97-AF65-F5344CB8AC3E}">
        <p14:creationId xmlns:p14="http://schemas.microsoft.com/office/powerpoint/2010/main" val="3362308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20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41" r:id="rId9"/>
    <p:sldLayoutId id="2147483698" r:id="rId10"/>
    <p:sldLayoutId id="2147483740" r:id="rId11"/>
    <p:sldLayoutId id="2147483735" r:id="rId12"/>
    <p:sldLayoutId id="2147483738" r:id="rId13"/>
    <p:sldLayoutId id="2147483737" r:id="rId14"/>
    <p:sldLayoutId id="2147483732" r:id="rId15"/>
    <p:sldLayoutId id="2147483728" r:id="rId16"/>
    <p:sldLayoutId id="2147483729" r:id="rId17"/>
    <p:sldLayoutId id="2147483702" r:id="rId18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>
          <a:gradFill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5400000" scaled="1"/>
          </a:gra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65760" indent="-182880" algn="l" defTabSz="914400" rtl="0" eaLnBrk="1" latinLnBrk="0" hangingPunct="1">
        <a:lnSpc>
          <a:spcPct val="10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30352" indent="-164592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600" kern="1200" spc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687388" indent="-17145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400" b="0" kern="1200" cap="none" spc="0" baseline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858837" indent="-17145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rgbClr val="FF0000"/>
        </a:buClr>
        <a:buFont typeface="Arial" panose="020B0604020202020204" pitchFamily="34" charset="0"/>
        <a:buChar char="•"/>
        <a:defRPr lang="en-US" sz="1200" b="0" kern="1200" cap="none" spc="0" baseline="0" dirty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spc="60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588" indent="-1588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​"/>
        <a:defRPr lang="en-US" sz="2000" b="0" i="0" kern="1200" cap="none" baseline="0" dirty="0" smtClean="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E2354EF-88AF-4F94-A95E-F46279720F9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peaker Nam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264F6-154F-4FCD-BBB3-C459A3ADE64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YYYY.MM.DD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F045F46-8A88-4D88-B390-270E330FCB8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Speaker Title / Company Nam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514E67-E40F-41CB-9B53-C634BFE3E6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ggplant Services</a:t>
            </a:r>
          </a:p>
        </p:txBody>
      </p:sp>
    </p:spTree>
    <p:extLst>
      <p:ext uri="{BB962C8B-B14F-4D97-AF65-F5344CB8AC3E}">
        <p14:creationId xmlns:p14="http://schemas.microsoft.com/office/powerpoint/2010/main" val="3797425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3A4CBEE3-0533-4F69-AEAA-234B5706539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" r="13"/>
          <a:stretch/>
        </p:blipFill>
        <p:spPr>
          <a:xfrm>
            <a:off x="0" y="1588"/>
            <a:ext cx="12192000" cy="6856412"/>
          </a:xfrm>
          <a:prstGeom prst="rect">
            <a:avLst/>
          </a:prstGeom>
        </p:spPr>
      </p:pic>
      <p:sp>
        <p:nvSpPr>
          <p:cNvPr id="4" name="Title 4">
            <a:extLst>
              <a:ext uri="{FF2B5EF4-FFF2-40B4-BE49-F238E27FC236}">
                <a16:creationId xmlns:a16="http://schemas.microsoft.com/office/drawing/2014/main" id="{C6C3791F-59BB-4CA6-B683-B274B736C708}"/>
              </a:ext>
            </a:extLst>
          </p:cNvPr>
          <p:cNvSpPr txBox="1">
            <a:spLocks/>
          </p:cNvSpPr>
          <p:nvPr/>
        </p:nvSpPr>
        <p:spPr>
          <a:xfrm>
            <a:off x="7606452" y="522159"/>
            <a:ext cx="2627378" cy="147732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>
                <a:gradFill>
                  <a:gsLst>
                    <a:gs pos="0">
                      <a:schemeClr val="bg1"/>
                    </a:gs>
                    <a:gs pos="100000">
                      <a:schemeClr val="bg1">
                        <a:lumMod val="75000"/>
                      </a:schemeClr>
                    </a:gs>
                  </a:gsLst>
                  <a:lin ang="5400000" scaled="1"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gradFill>
                  <a:gsLst>
                    <a:gs pos="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</a:gradFill>
              </a:rPr>
              <a:t>Eggplant Services </a:t>
            </a:r>
          </a:p>
          <a:p>
            <a:r>
              <a:rPr lang="en-US" dirty="0">
                <a:gradFill>
                  <a:gsLst>
                    <a:gs pos="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</a:gradFill>
              </a:rPr>
              <a:t>At-a-Glanc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E425A58-DED2-4E1F-B35B-87FFB29B6ECB}"/>
              </a:ext>
            </a:extLst>
          </p:cNvPr>
          <p:cNvCxnSpPr/>
          <p:nvPr/>
        </p:nvCxnSpPr>
        <p:spPr>
          <a:xfrm>
            <a:off x="7606452" y="2173830"/>
            <a:ext cx="2627378" cy="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aphic 107">
            <a:extLst>
              <a:ext uri="{FF2B5EF4-FFF2-40B4-BE49-F238E27FC236}">
                <a16:creationId xmlns:a16="http://schemas.microsoft.com/office/drawing/2014/main" id="{DD70DC3A-03C4-734D-B0CB-CB841745B2A7}"/>
              </a:ext>
            </a:extLst>
          </p:cNvPr>
          <p:cNvGrpSpPr>
            <a:grpSpLocks noChangeAspect="1"/>
          </p:cNvGrpSpPr>
          <p:nvPr/>
        </p:nvGrpSpPr>
        <p:grpSpPr>
          <a:xfrm>
            <a:off x="7619676" y="3956415"/>
            <a:ext cx="914400" cy="914400"/>
            <a:chOff x="849822" y="4189627"/>
            <a:chExt cx="1714500" cy="1714500"/>
          </a:xfrm>
        </p:grpSpPr>
        <p:grpSp>
          <p:nvGrpSpPr>
            <p:cNvPr id="17" name="Graphic 107">
              <a:extLst>
                <a:ext uri="{FF2B5EF4-FFF2-40B4-BE49-F238E27FC236}">
                  <a16:creationId xmlns:a16="http://schemas.microsoft.com/office/drawing/2014/main" id="{6D3C2B8F-A074-304E-AF0C-E1143CF1ABEF}"/>
                </a:ext>
              </a:extLst>
            </p:cNvPr>
            <p:cNvGrpSpPr/>
            <p:nvPr/>
          </p:nvGrpSpPr>
          <p:grpSpPr>
            <a:xfrm>
              <a:off x="1076612" y="4414416"/>
              <a:ext cx="1259586" cy="1259586"/>
              <a:chOff x="1076612" y="4414416"/>
              <a:chExt cx="1259586" cy="1259586"/>
            </a:xfrm>
            <a:solidFill>
              <a:schemeClr val="accent1"/>
            </a:solidFill>
          </p:grpSpPr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64337E0A-F608-944E-A275-2BB7493BAE6C}"/>
                  </a:ext>
                </a:extLst>
              </p:cNvPr>
              <p:cNvSpPr/>
              <p:nvPr/>
            </p:nvSpPr>
            <p:spPr>
              <a:xfrm>
                <a:off x="1076612" y="4414416"/>
                <a:ext cx="1259586" cy="1259586"/>
              </a:xfrm>
              <a:custGeom>
                <a:avLst/>
                <a:gdLst>
                  <a:gd name="connsiteX0" fmla="*/ 629888 w 1259586"/>
                  <a:gd name="connsiteY0" fmla="*/ 1259586 h 1259586"/>
                  <a:gd name="connsiteX1" fmla="*/ 0 w 1259586"/>
                  <a:gd name="connsiteY1" fmla="*/ 629888 h 1259586"/>
                  <a:gd name="connsiteX2" fmla="*/ 629698 w 1259586"/>
                  <a:gd name="connsiteY2" fmla="*/ 0 h 1259586"/>
                  <a:gd name="connsiteX3" fmla="*/ 1259586 w 1259586"/>
                  <a:gd name="connsiteY3" fmla="*/ 629698 h 1259586"/>
                  <a:gd name="connsiteX4" fmla="*/ 1259586 w 1259586"/>
                  <a:gd name="connsiteY4" fmla="*/ 629888 h 1259586"/>
                  <a:gd name="connsiteX5" fmla="*/ 629888 w 1259586"/>
                  <a:gd name="connsiteY5" fmla="*/ 1259586 h 1259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59586" h="1259586">
                    <a:moveTo>
                      <a:pt x="629888" y="1259586"/>
                    </a:moveTo>
                    <a:cubicBezTo>
                      <a:pt x="282063" y="1259639"/>
                      <a:pt x="53" y="977713"/>
                      <a:pt x="0" y="629888"/>
                    </a:cubicBezTo>
                    <a:cubicBezTo>
                      <a:pt x="-53" y="282063"/>
                      <a:pt x="281873" y="53"/>
                      <a:pt x="629698" y="0"/>
                    </a:cubicBezTo>
                    <a:cubicBezTo>
                      <a:pt x="977523" y="-53"/>
                      <a:pt x="1259533" y="281873"/>
                      <a:pt x="1259586" y="629698"/>
                    </a:cubicBezTo>
                    <a:cubicBezTo>
                      <a:pt x="1259586" y="629761"/>
                      <a:pt x="1259586" y="629825"/>
                      <a:pt x="1259586" y="629888"/>
                    </a:cubicBezTo>
                    <a:cubicBezTo>
                      <a:pt x="1259166" y="977487"/>
                      <a:pt x="977487" y="1259166"/>
                      <a:pt x="629888" y="1259586"/>
                    </a:cubicBezTo>
                    <a:close/>
                  </a:path>
                </a:pathLst>
              </a:custGeom>
              <a:solidFill>
                <a:srgbClr val="4A4F5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785C9629-F8D7-824B-ABF2-413105599731}"/>
                  </a:ext>
                </a:extLst>
              </p:cNvPr>
              <p:cNvSpPr/>
              <p:nvPr/>
            </p:nvSpPr>
            <p:spPr>
              <a:xfrm>
                <a:off x="1496950" y="4780462"/>
                <a:ext cx="419100" cy="419100"/>
              </a:xfrm>
              <a:custGeom>
                <a:avLst/>
                <a:gdLst>
                  <a:gd name="connsiteX0" fmla="*/ 419100 w 419100"/>
                  <a:gd name="connsiteY0" fmla="*/ 209550 h 419100"/>
                  <a:gd name="connsiteX1" fmla="*/ 209550 w 419100"/>
                  <a:gd name="connsiteY1" fmla="*/ 419100 h 419100"/>
                  <a:gd name="connsiteX2" fmla="*/ 0 w 419100"/>
                  <a:gd name="connsiteY2" fmla="*/ 209550 h 419100"/>
                  <a:gd name="connsiteX3" fmla="*/ 209550 w 419100"/>
                  <a:gd name="connsiteY3" fmla="*/ 0 h 419100"/>
                  <a:gd name="connsiteX4" fmla="*/ 419100 w 419100"/>
                  <a:gd name="connsiteY4" fmla="*/ 209550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9100" h="419100">
                    <a:moveTo>
                      <a:pt x="419100" y="209550"/>
                    </a:moveTo>
                    <a:cubicBezTo>
                      <a:pt x="419100" y="325281"/>
                      <a:pt x="325281" y="419100"/>
                      <a:pt x="209550" y="419100"/>
                    </a:cubicBezTo>
                    <a:cubicBezTo>
                      <a:pt x="93819" y="419100"/>
                      <a:pt x="0" y="325281"/>
                      <a:pt x="0" y="209550"/>
                    </a:cubicBezTo>
                    <a:cubicBezTo>
                      <a:pt x="0" y="93819"/>
                      <a:pt x="93819" y="0"/>
                      <a:pt x="209550" y="0"/>
                    </a:cubicBezTo>
                    <a:cubicBezTo>
                      <a:pt x="325281" y="0"/>
                      <a:pt x="419100" y="93819"/>
                      <a:pt x="419100" y="209550"/>
                    </a:cubicBez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855579FA-18AE-9B4D-A350-7D074C59416E}"/>
                  </a:ext>
                </a:extLst>
              </p:cNvPr>
              <p:cNvSpPr/>
              <p:nvPr/>
            </p:nvSpPr>
            <p:spPr>
              <a:xfrm>
                <a:off x="1496950" y="4779799"/>
                <a:ext cx="419100" cy="545302"/>
              </a:xfrm>
              <a:custGeom>
                <a:avLst/>
                <a:gdLst>
                  <a:gd name="connsiteX0" fmla="*/ 419100 w 419100"/>
                  <a:gd name="connsiteY0" fmla="*/ 209928 h 545302"/>
                  <a:gd name="connsiteX1" fmla="*/ 209928 w 419100"/>
                  <a:gd name="connsiteY1" fmla="*/ 0 h 545302"/>
                  <a:gd name="connsiteX2" fmla="*/ 0 w 419100"/>
                  <a:gd name="connsiteY2" fmla="*/ 209173 h 545302"/>
                  <a:gd name="connsiteX3" fmla="*/ 57150 w 419100"/>
                  <a:gd name="connsiteY3" fmla="*/ 353374 h 545302"/>
                  <a:gd name="connsiteX4" fmla="*/ 126111 w 419100"/>
                  <a:gd name="connsiteY4" fmla="*/ 532254 h 545302"/>
                  <a:gd name="connsiteX5" fmla="*/ 126111 w 419100"/>
                  <a:gd name="connsiteY5" fmla="*/ 532254 h 545302"/>
                  <a:gd name="connsiteX6" fmla="*/ 139160 w 419100"/>
                  <a:gd name="connsiteY6" fmla="*/ 545303 h 545302"/>
                  <a:gd name="connsiteX7" fmla="*/ 280320 w 419100"/>
                  <a:gd name="connsiteY7" fmla="*/ 545303 h 545302"/>
                  <a:gd name="connsiteX8" fmla="*/ 293370 w 419100"/>
                  <a:gd name="connsiteY8" fmla="*/ 532254 h 545302"/>
                  <a:gd name="connsiteX9" fmla="*/ 293370 w 419100"/>
                  <a:gd name="connsiteY9" fmla="*/ 532254 h 545302"/>
                  <a:gd name="connsiteX10" fmla="*/ 365664 w 419100"/>
                  <a:gd name="connsiteY10" fmla="*/ 349659 h 545302"/>
                  <a:gd name="connsiteX11" fmla="*/ 419100 w 419100"/>
                  <a:gd name="connsiteY11" fmla="*/ 209928 h 545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19100" h="545302">
                    <a:moveTo>
                      <a:pt x="419100" y="209928"/>
                    </a:moveTo>
                    <a:cubicBezTo>
                      <a:pt x="419308" y="94196"/>
                      <a:pt x="325659" y="209"/>
                      <a:pt x="209928" y="0"/>
                    </a:cubicBezTo>
                    <a:cubicBezTo>
                      <a:pt x="94196" y="-208"/>
                      <a:pt x="209" y="93441"/>
                      <a:pt x="0" y="209173"/>
                    </a:cubicBezTo>
                    <a:cubicBezTo>
                      <a:pt x="-96" y="262780"/>
                      <a:pt x="20356" y="314386"/>
                      <a:pt x="57150" y="353374"/>
                    </a:cubicBezTo>
                    <a:cubicBezTo>
                      <a:pt x="102039" y="402067"/>
                      <a:pt x="126697" y="466029"/>
                      <a:pt x="126111" y="532254"/>
                    </a:cubicBezTo>
                    <a:lnTo>
                      <a:pt x="126111" y="532254"/>
                    </a:lnTo>
                    <a:cubicBezTo>
                      <a:pt x="126111" y="539460"/>
                      <a:pt x="131953" y="545303"/>
                      <a:pt x="139160" y="545303"/>
                    </a:cubicBezTo>
                    <a:lnTo>
                      <a:pt x="280320" y="545303"/>
                    </a:lnTo>
                    <a:cubicBezTo>
                      <a:pt x="287527" y="545303"/>
                      <a:pt x="293370" y="539460"/>
                      <a:pt x="293370" y="532254"/>
                    </a:cubicBezTo>
                    <a:lnTo>
                      <a:pt x="293370" y="532254"/>
                    </a:lnTo>
                    <a:cubicBezTo>
                      <a:pt x="294136" y="464558"/>
                      <a:pt x="319882" y="399532"/>
                      <a:pt x="365664" y="349659"/>
                    </a:cubicBezTo>
                    <a:cubicBezTo>
                      <a:pt x="400148" y="311296"/>
                      <a:pt x="419186" y="261511"/>
                      <a:pt x="419100" y="209928"/>
                    </a:cubicBezTo>
                    <a:close/>
                  </a:path>
                </a:pathLst>
              </a:custGeom>
              <a:noFill/>
              <a:ln w="4191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2BF36D69-1649-6F49-BF59-F38A1B3BD1DD}"/>
                  </a:ext>
                </a:extLst>
              </p:cNvPr>
              <p:cNvSpPr/>
              <p:nvPr/>
            </p:nvSpPr>
            <p:spPr>
              <a:xfrm>
                <a:off x="1684497" y="4971820"/>
                <a:ext cx="44005" cy="80771"/>
              </a:xfrm>
              <a:custGeom>
                <a:avLst/>
                <a:gdLst>
                  <a:gd name="connsiteX0" fmla="*/ 44006 w 44005"/>
                  <a:gd name="connsiteY0" fmla="*/ 40386 h 80771"/>
                  <a:gd name="connsiteX1" fmla="*/ 22003 w 44005"/>
                  <a:gd name="connsiteY1" fmla="*/ 80772 h 80771"/>
                  <a:gd name="connsiteX2" fmla="*/ 0 w 44005"/>
                  <a:gd name="connsiteY2" fmla="*/ 40386 h 80771"/>
                  <a:gd name="connsiteX3" fmla="*/ 22003 w 44005"/>
                  <a:gd name="connsiteY3" fmla="*/ 0 h 80771"/>
                  <a:gd name="connsiteX4" fmla="*/ 44006 w 44005"/>
                  <a:gd name="connsiteY4" fmla="*/ 40386 h 80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005" h="80771">
                    <a:moveTo>
                      <a:pt x="44006" y="40386"/>
                    </a:moveTo>
                    <a:cubicBezTo>
                      <a:pt x="44006" y="62691"/>
                      <a:pt x="34155" y="80772"/>
                      <a:pt x="22003" y="80772"/>
                    </a:cubicBezTo>
                    <a:cubicBezTo>
                      <a:pt x="9851" y="80772"/>
                      <a:pt x="0" y="62691"/>
                      <a:pt x="0" y="40386"/>
                    </a:cubicBezTo>
                    <a:cubicBezTo>
                      <a:pt x="0" y="18081"/>
                      <a:pt x="9851" y="0"/>
                      <a:pt x="22003" y="0"/>
                    </a:cubicBezTo>
                    <a:cubicBezTo>
                      <a:pt x="34155" y="0"/>
                      <a:pt x="44006" y="18081"/>
                      <a:pt x="44006" y="40386"/>
                    </a:cubicBezTo>
                    <a:close/>
                  </a:path>
                </a:pathLst>
              </a:custGeom>
              <a:noFill/>
              <a:ln w="25146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D186492B-A85A-364F-9C21-33B29DA73E0F}"/>
                  </a:ext>
                </a:extLst>
              </p:cNvPr>
              <p:cNvSpPr/>
              <p:nvPr/>
            </p:nvSpPr>
            <p:spPr>
              <a:xfrm rot="-2700000">
                <a:off x="1603750" y="5026298"/>
                <a:ext cx="34861" cy="63817"/>
              </a:xfrm>
              <a:custGeom>
                <a:avLst/>
                <a:gdLst>
                  <a:gd name="connsiteX0" fmla="*/ 34861 w 34861"/>
                  <a:gd name="connsiteY0" fmla="*/ 31909 h 63817"/>
                  <a:gd name="connsiteX1" fmla="*/ 17431 w 34861"/>
                  <a:gd name="connsiteY1" fmla="*/ 63818 h 63817"/>
                  <a:gd name="connsiteX2" fmla="*/ 0 w 34861"/>
                  <a:gd name="connsiteY2" fmla="*/ 31909 h 63817"/>
                  <a:gd name="connsiteX3" fmla="*/ 17431 w 34861"/>
                  <a:gd name="connsiteY3" fmla="*/ 0 h 63817"/>
                  <a:gd name="connsiteX4" fmla="*/ 34861 w 34861"/>
                  <a:gd name="connsiteY4" fmla="*/ 31909 h 63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861" h="63817">
                    <a:moveTo>
                      <a:pt x="34861" y="31909"/>
                    </a:moveTo>
                    <a:cubicBezTo>
                      <a:pt x="34861" y="49531"/>
                      <a:pt x="27057" y="63818"/>
                      <a:pt x="17431" y="63818"/>
                    </a:cubicBezTo>
                    <a:cubicBezTo>
                      <a:pt x="7804" y="63818"/>
                      <a:pt x="0" y="49531"/>
                      <a:pt x="0" y="31909"/>
                    </a:cubicBezTo>
                    <a:cubicBezTo>
                      <a:pt x="0" y="14286"/>
                      <a:pt x="7804" y="0"/>
                      <a:pt x="17431" y="0"/>
                    </a:cubicBezTo>
                    <a:cubicBezTo>
                      <a:pt x="27057" y="0"/>
                      <a:pt x="34861" y="14286"/>
                      <a:pt x="34861" y="31909"/>
                    </a:cubicBezTo>
                    <a:close/>
                  </a:path>
                </a:pathLst>
              </a:custGeom>
              <a:noFill/>
              <a:ln w="25146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8FD58D46-6AD5-BF48-8AAC-422B885DDFFA}"/>
                  </a:ext>
                </a:extLst>
              </p:cNvPr>
              <p:cNvSpPr/>
              <p:nvPr/>
            </p:nvSpPr>
            <p:spPr>
              <a:xfrm>
                <a:off x="1643921" y="5060593"/>
                <a:ext cx="29735" cy="248983"/>
              </a:xfrm>
              <a:custGeom>
                <a:avLst/>
                <a:gdLst>
                  <a:gd name="connsiteX0" fmla="*/ 26098 w 29735"/>
                  <a:gd name="connsiteY0" fmla="*/ 248984 h 248983"/>
                  <a:gd name="connsiteX1" fmla="*/ 0 w 29735"/>
                  <a:gd name="connsiteY1" fmla="*/ 0 h 248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35" h="248983">
                    <a:moveTo>
                      <a:pt x="26098" y="248984"/>
                    </a:moveTo>
                    <a:cubicBezTo>
                      <a:pt x="26098" y="248984"/>
                      <a:pt x="44101" y="69056"/>
                      <a:pt x="0" y="0"/>
                    </a:cubicBezTo>
                  </a:path>
                </a:pathLst>
              </a:custGeom>
              <a:noFill/>
              <a:ln w="25146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E9E68B66-3602-D44D-B8D5-18237EA187E3}"/>
                  </a:ext>
                </a:extLst>
              </p:cNvPr>
              <p:cNvSpPr/>
              <p:nvPr/>
            </p:nvSpPr>
            <p:spPr>
              <a:xfrm>
                <a:off x="1631634" y="5046877"/>
                <a:ext cx="86487" cy="37842"/>
              </a:xfrm>
              <a:custGeom>
                <a:avLst/>
                <a:gdLst>
                  <a:gd name="connsiteX0" fmla="*/ 0 w 86487"/>
                  <a:gd name="connsiteY0" fmla="*/ 36671 h 37842"/>
                  <a:gd name="connsiteX1" fmla="*/ 86487 w 86487"/>
                  <a:gd name="connsiteY1" fmla="*/ 0 h 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6487" h="37842">
                    <a:moveTo>
                      <a:pt x="0" y="36671"/>
                    </a:moveTo>
                    <a:cubicBezTo>
                      <a:pt x="33493" y="42190"/>
                      <a:pt x="67168" y="27911"/>
                      <a:pt x="86487" y="0"/>
                    </a:cubicBezTo>
                  </a:path>
                </a:pathLst>
              </a:custGeom>
              <a:noFill/>
              <a:ln w="25146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8481EC4A-3FC1-674C-9904-1392E9F5B1FA}"/>
                  </a:ext>
                </a:extLst>
              </p:cNvPr>
              <p:cNvSpPr/>
              <p:nvPr/>
            </p:nvSpPr>
            <p:spPr>
              <a:xfrm>
                <a:off x="1684497" y="4971820"/>
                <a:ext cx="44005" cy="80771"/>
              </a:xfrm>
              <a:custGeom>
                <a:avLst/>
                <a:gdLst>
                  <a:gd name="connsiteX0" fmla="*/ 44006 w 44005"/>
                  <a:gd name="connsiteY0" fmla="*/ 40386 h 80771"/>
                  <a:gd name="connsiteX1" fmla="*/ 22003 w 44005"/>
                  <a:gd name="connsiteY1" fmla="*/ 80772 h 80771"/>
                  <a:gd name="connsiteX2" fmla="*/ 0 w 44005"/>
                  <a:gd name="connsiteY2" fmla="*/ 40386 h 80771"/>
                  <a:gd name="connsiteX3" fmla="*/ 22003 w 44005"/>
                  <a:gd name="connsiteY3" fmla="*/ 0 h 80771"/>
                  <a:gd name="connsiteX4" fmla="*/ 44006 w 44005"/>
                  <a:gd name="connsiteY4" fmla="*/ 40386 h 80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005" h="80771">
                    <a:moveTo>
                      <a:pt x="44006" y="40386"/>
                    </a:moveTo>
                    <a:cubicBezTo>
                      <a:pt x="44006" y="62691"/>
                      <a:pt x="34155" y="80772"/>
                      <a:pt x="22003" y="80772"/>
                    </a:cubicBezTo>
                    <a:cubicBezTo>
                      <a:pt x="9851" y="80772"/>
                      <a:pt x="0" y="62691"/>
                      <a:pt x="0" y="40386"/>
                    </a:cubicBezTo>
                    <a:cubicBezTo>
                      <a:pt x="0" y="18081"/>
                      <a:pt x="9851" y="0"/>
                      <a:pt x="22003" y="0"/>
                    </a:cubicBezTo>
                    <a:cubicBezTo>
                      <a:pt x="34155" y="0"/>
                      <a:pt x="44006" y="18081"/>
                      <a:pt x="44006" y="40386"/>
                    </a:cubicBezTo>
                    <a:close/>
                  </a:path>
                </a:pathLst>
              </a:custGeom>
              <a:noFill/>
              <a:ln w="25146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B0BB357E-3FD3-8741-822B-7B46EC702DF2}"/>
                  </a:ext>
                </a:extLst>
              </p:cNvPr>
              <p:cNvSpPr/>
              <p:nvPr/>
            </p:nvSpPr>
            <p:spPr>
              <a:xfrm rot="-2700000">
                <a:off x="1759973" y="5040763"/>
                <a:ext cx="63817" cy="34861"/>
              </a:xfrm>
              <a:custGeom>
                <a:avLst/>
                <a:gdLst>
                  <a:gd name="connsiteX0" fmla="*/ 63818 w 63817"/>
                  <a:gd name="connsiteY0" fmla="*/ 17431 h 34861"/>
                  <a:gd name="connsiteX1" fmla="*/ 31909 w 63817"/>
                  <a:gd name="connsiteY1" fmla="*/ 34862 h 34861"/>
                  <a:gd name="connsiteX2" fmla="*/ 0 w 63817"/>
                  <a:gd name="connsiteY2" fmla="*/ 17431 h 34861"/>
                  <a:gd name="connsiteX3" fmla="*/ 31909 w 63817"/>
                  <a:gd name="connsiteY3" fmla="*/ 0 h 34861"/>
                  <a:gd name="connsiteX4" fmla="*/ 63818 w 63817"/>
                  <a:gd name="connsiteY4" fmla="*/ 17431 h 3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817" h="34861">
                    <a:moveTo>
                      <a:pt x="63818" y="17431"/>
                    </a:moveTo>
                    <a:cubicBezTo>
                      <a:pt x="63818" y="27058"/>
                      <a:pt x="49531" y="34862"/>
                      <a:pt x="31909" y="34862"/>
                    </a:cubicBezTo>
                    <a:cubicBezTo>
                      <a:pt x="14286" y="34862"/>
                      <a:pt x="0" y="27058"/>
                      <a:pt x="0" y="17431"/>
                    </a:cubicBezTo>
                    <a:cubicBezTo>
                      <a:pt x="0" y="7804"/>
                      <a:pt x="14286" y="0"/>
                      <a:pt x="31909" y="0"/>
                    </a:cubicBezTo>
                    <a:cubicBezTo>
                      <a:pt x="49531" y="0"/>
                      <a:pt x="63818" y="7804"/>
                      <a:pt x="63818" y="17431"/>
                    </a:cubicBezTo>
                    <a:close/>
                  </a:path>
                </a:pathLst>
              </a:custGeom>
              <a:noFill/>
              <a:ln w="25146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Freeform 49">
                <a:extLst>
                  <a:ext uri="{FF2B5EF4-FFF2-40B4-BE49-F238E27FC236}">
                    <a16:creationId xmlns:a16="http://schemas.microsoft.com/office/drawing/2014/main" id="{D989116A-9169-A04F-AE03-2163B08A5C6C}"/>
                  </a:ext>
                </a:extLst>
              </p:cNvPr>
              <p:cNvSpPr/>
              <p:nvPr/>
            </p:nvSpPr>
            <p:spPr>
              <a:xfrm>
                <a:off x="1739312" y="5060593"/>
                <a:ext cx="29767" cy="248983"/>
              </a:xfrm>
              <a:custGeom>
                <a:avLst/>
                <a:gdLst>
                  <a:gd name="connsiteX0" fmla="*/ 3669 w 29767"/>
                  <a:gd name="connsiteY0" fmla="*/ 248984 h 248983"/>
                  <a:gd name="connsiteX1" fmla="*/ 29767 w 29767"/>
                  <a:gd name="connsiteY1" fmla="*/ 0 h 248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67" h="248983">
                    <a:moveTo>
                      <a:pt x="3669" y="248984"/>
                    </a:moveTo>
                    <a:cubicBezTo>
                      <a:pt x="3669" y="248984"/>
                      <a:pt x="-14429" y="69056"/>
                      <a:pt x="29767" y="0"/>
                    </a:cubicBezTo>
                  </a:path>
                </a:pathLst>
              </a:custGeom>
              <a:noFill/>
              <a:ln w="25146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1" name="Freeform 50">
                <a:extLst>
                  <a:ext uri="{FF2B5EF4-FFF2-40B4-BE49-F238E27FC236}">
                    <a16:creationId xmlns:a16="http://schemas.microsoft.com/office/drawing/2014/main" id="{5BA3261D-F2CD-5F4C-936E-18B2F3490E67}"/>
                  </a:ext>
                </a:extLst>
              </p:cNvPr>
              <p:cNvSpPr/>
              <p:nvPr/>
            </p:nvSpPr>
            <p:spPr>
              <a:xfrm>
                <a:off x="1694880" y="5046877"/>
                <a:ext cx="86487" cy="37850"/>
              </a:xfrm>
              <a:custGeom>
                <a:avLst/>
                <a:gdLst>
                  <a:gd name="connsiteX0" fmla="*/ 86487 w 86487"/>
                  <a:gd name="connsiteY0" fmla="*/ 36671 h 37850"/>
                  <a:gd name="connsiteX1" fmla="*/ 0 w 86487"/>
                  <a:gd name="connsiteY1" fmla="*/ 0 h 37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6487" h="37850">
                    <a:moveTo>
                      <a:pt x="86487" y="36671"/>
                    </a:moveTo>
                    <a:cubicBezTo>
                      <a:pt x="52991" y="42214"/>
                      <a:pt x="19304" y="27930"/>
                      <a:pt x="0" y="0"/>
                    </a:cubicBezTo>
                  </a:path>
                </a:pathLst>
              </a:custGeom>
              <a:noFill/>
              <a:ln w="25146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id="{A146B324-CAD5-8445-B558-675E68DCAAE3}"/>
                  </a:ext>
                </a:extLst>
              </p:cNvPr>
              <p:cNvSpPr/>
              <p:nvPr/>
            </p:nvSpPr>
            <p:spPr>
              <a:xfrm>
                <a:off x="1643921" y="5383776"/>
                <a:ext cx="125158" cy="9525"/>
              </a:xfrm>
              <a:custGeom>
                <a:avLst/>
                <a:gdLst>
                  <a:gd name="connsiteX0" fmla="*/ 0 w 125158"/>
                  <a:gd name="connsiteY0" fmla="*/ 0 h 9525"/>
                  <a:gd name="connsiteX1" fmla="*/ 125159 w 12515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158" h="9525">
                    <a:moveTo>
                      <a:pt x="0" y="0"/>
                    </a:moveTo>
                    <a:lnTo>
                      <a:pt x="125159" y="0"/>
                    </a:lnTo>
                  </a:path>
                </a:pathLst>
              </a:custGeom>
              <a:ln w="41910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id="{6A5B6CCC-4752-BB4D-BE67-97A7363F20F6}"/>
                  </a:ext>
                </a:extLst>
              </p:cNvPr>
              <p:cNvSpPr/>
              <p:nvPr/>
            </p:nvSpPr>
            <p:spPr>
              <a:xfrm>
                <a:off x="1660875" y="5435592"/>
                <a:ext cx="91249" cy="9525"/>
              </a:xfrm>
              <a:custGeom>
                <a:avLst/>
                <a:gdLst>
                  <a:gd name="connsiteX0" fmla="*/ 0 w 91249"/>
                  <a:gd name="connsiteY0" fmla="*/ 0 h 9525"/>
                  <a:gd name="connsiteX1" fmla="*/ 91250 w 91249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249" h="9525">
                    <a:moveTo>
                      <a:pt x="0" y="0"/>
                    </a:moveTo>
                    <a:lnTo>
                      <a:pt x="91250" y="0"/>
                    </a:lnTo>
                  </a:path>
                </a:pathLst>
              </a:custGeom>
              <a:ln w="41910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4" name="Freeform 53">
                <a:extLst>
                  <a:ext uri="{FF2B5EF4-FFF2-40B4-BE49-F238E27FC236}">
                    <a16:creationId xmlns:a16="http://schemas.microsoft.com/office/drawing/2014/main" id="{79365A7B-5192-F24D-98D7-F87748987C74}"/>
                  </a:ext>
                </a:extLst>
              </p:cNvPr>
              <p:cNvSpPr/>
              <p:nvPr/>
            </p:nvSpPr>
            <p:spPr>
              <a:xfrm>
                <a:off x="1706500" y="4652923"/>
                <a:ext cx="9525" cy="46863"/>
              </a:xfrm>
              <a:custGeom>
                <a:avLst/>
                <a:gdLst>
                  <a:gd name="connsiteX0" fmla="*/ 0 w 9525"/>
                  <a:gd name="connsiteY0" fmla="*/ 46863 h 46863"/>
                  <a:gd name="connsiteX1" fmla="*/ 0 w 9525"/>
                  <a:gd name="connsiteY1" fmla="*/ 0 h 4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46863">
                    <a:moveTo>
                      <a:pt x="0" y="46863"/>
                    </a:moveTo>
                    <a:lnTo>
                      <a:pt x="0" y="0"/>
                    </a:lnTo>
                  </a:path>
                </a:pathLst>
              </a:custGeom>
              <a:ln w="26384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5" name="Freeform 54">
                <a:extLst>
                  <a:ext uri="{FF2B5EF4-FFF2-40B4-BE49-F238E27FC236}">
                    <a16:creationId xmlns:a16="http://schemas.microsoft.com/office/drawing/2014/main" id="{AA58A70E-0916-864C-8394-A8D23E66F8DB}"/>
                  </a:ext>
                </a:extLst>
              </p:cNvPr>
              <p:cNvSpPr/>
              <p:nvPr/>
            </p:nvSpPr>
            <p:spPr>
              <a:xfrm>
                <a:off x="1851566" y="4698071"/>
                <a:ext cx="23526" cy="40576"/>
              </a:xfrm>
              <a:custGeom>
                <a:avLst/>
                <a:gdLst>
                  <a:gd name="connsiteX0" fmla="*/ 0 w 23526"/>
                  <a:gd name="connsiteY0" fmla="*/ 40576 h 40576"/>
                  <a:gd name="connsiteX1" fmla="*/ 23527 w 23526"/>
                  <a:gd name="connsiteY1" fmla="*/ 0 h 40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26" h="40576">
                    <a:moveTo>
                      <a:pt x="0" y="40576"/>
                    </a:moveTo>
                    <a:lnTo>
                      <a:pt x="23527" y="0"/>
                    </a:lnTo>
                  </a:path>
                </a:pathLst>
              </a:custGeom>
              <a:ln w="26384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6" name="Freeform 55">
                <a:extLst>
                  <a:ext uri="{FF2B5EF4-FFF2-40B4-BE49-F238E27FC236}">
                    <a16:creationId xmlns:a16="http://schemas.microsoft.com/office/drawing/2014/main" id="{2F224700-C46C-8944-9DED-0FBC17765CAF}"/>
                  </a:ext>
                </a:extLst>
              </p:cNvPr>
              <p:cNvSpPr/>
              <p:nvPr/>
            </p:nvSpPr>
            <p:spPr>
              <a:xfrm>
                <a:off x="1957865" y="4821420"/>
                <a:ext cx="40576" cy="23526"/>
              </a:xfrm>
              <a:custGeom>
                <a:avLst/>
                <a:gdLst>
                  <a:gd name="connsiteX0" fmla="*/ 0 w 40576"/>
                  <a:gd name="connsiteY0" fmla="*/ 23527 h 23526"/>
                  <a:gd name="connsiteX1" fmla="*/ 40576 w 40576"/>
                  <a:gd name="connsiteY1" fmla="*/ 0 h 23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576" h="23526">
                    <a:moveTo>
                      <a:pt x="0" y="23527"/>
                    </a:moveTo>
                    <a:lnTo>
                      <a:pt x="40576" y="0"/>
                    </a:lnTo>
                  </a:path>
                </a:pathLst>
              </a:custGeom>
              <a:ln w="26384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7" name="Freeform 56">
                <a:extLst>
                  <a:ext uri="{FF2B5EF4-FFF2-40B4-BE49-F238E27FC236}">
                    <a16:creationId xmlns:a16="http://schemas.microsoft.com/office/drawing/2014/main" id="{FD394635-B2B4-F844-BCB4-DA61DFEF0B20}"/>
                  </a:ext>
                </a:extLst>
              </p:cNvPr>
              <p:cNvSpPr/>
              <p:nvPr/>
            </p:nvSpPr>
            <p:spPr>
              <a:xfrm>
                <a:off x="1996727" y="4990012"/>
                <a:ext cx="46863" cy="9525"/>
              </a:xfrm>
              <a:custGeom>
                <a:avLst/>
                <a:gdLst>
                  <a:gd name="connsiteX0" fmla="*/ 0 w 46863"/>
                  <a:gd name="connsiteY0" fmla="*/ 0 h 9525"/>
                  <a:gd name="connsiteX1" fmla="*/ 46863 w 46863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63" h="9525">
                    <a:moveTo>
                      <a:pt x="0" y="0"/>
                    </a:moveTo>
                    <a:lnTo>
                      <a:pt x="46863" y="0"/>
                    </a:lnTo>
                  </a:path>
                </a:pathLst>
              </a:custGeom>
              <a:ln w="26384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8" name="Freeform 57">
                <a:extLst>
                  <a:ext uri="{FF2B5EF4-FFF2-40B4-BE49-F238E27FC236}">
                    <a16:creationId xmlns:a16="http://schemas.microsoft.com/office/drawing/2014/main" id="{9AA2ECDD-5176-A545-BDB7-F98393FC1EC2}"/>
                  </a:ext>
                </a:extLst>
              </p:cNvPr>
              <p:cNvSpPr/>
              <p:nvPr/>
            </p:nvSpPr>
            <p:spPr>
              <a:xfrm>
                <a:off x="1957865" y="5135078"/>
                <a:ext cx="40576" cy="23526"/>
              </a:xfrm>
              <a:custGeom>
                <a:avLst/>
                <a:gdLst>
                  <a:gd name="connsiteX0" fmla="*/ 0 w 40576"/>
                  <a:gd name="connsiteY0" fmla="*/ 0 h 23526"/>
                  <a:gd name="connsiteX1" fmla="*/ 40576 w 40576"/>
                  <a:gd name="connsiteY1" fmla="*/ 23527 h 23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576" h="23526">
                    <a:moveTo>
                      <a:pt x="0" y="0"/>
                    </a:moveTo>
                    <a:lnTo>
                      <a:pt x="40576" y="23527"/>
                    </a:lnTo>
                  </a:path>
                </a:pathLst>
              </a:custGeom>
              <a:ln w="26384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9" name="Freeform 58">
                <a:extLst>
                  <a:ext uri="{FF2B5EF4-FFF2-40B4-BE49-F238E27FC236}">
                    <a16:creationId xmlns:a16="http://schemas.microsoft.com/office/drawing/2014/main" id="{19F65DCC-CA77-524B-88F1-30E79B03C32A}"/>
                  </a:ext>
                </a:extLst>
              </p:cNvPr>
              <p:cNvSpPr/>
              <p:nvPr/>
            </p:nvSpPr>
            <p:spPr>
              <a:xfrm>
                <a:off x="1537908" y="4698071"/>
                <a:ext cx="23431" cy="40576"/>
              </a:xfrm>
              <a:custGeom>
                <a:avLst/>
                <a:gdLst>
                  <a:gd name="connsiteX0" fmla="*/ 23431 w 23431"/>
                  <a:gd name="connsiteY0" fmla="*/ 40576 h 40576"/>
                  <a:gd name="connsiteX1" fmla="*/ 0 w 23431"/>
                  <a:gd name="connsiteY1" fmla="*/ 0 h 40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31" h="40576">
                    <a:moveTo>
                      <a:pt x="23431" y="40576"/>
                    </a:moveTo>
                    <a:lnTo>
                      <a:pt x="0" y="0"/>
                    </a:lnTo>
                  </a:path>
                </a:pathLst>
              </a:custGeom>
              <a:ln w="26384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0" name="Freeform 59">
                <a:extLst>
                  <a:ext uri="{FF2B5EF4-FFF2-40B4-BE49-F238E27FC236}">
                    <a16:creationId xmlns:a16="http://schemas.microsoft.com/office/drawing/2014/main" id="{1E82F8AE-81DF-9F4D-8533-29518129140E}"/>
                  </a:ext>
                </a:extLst>
              </p:cNvPr>
              <p:cNvSpPr/>
              <p:nvPr/>
            </p:nvSpPr>
            <p:spPr>
              <a:xfrm>
                <a:off x="1414559" y="4821420"/>
                <a:ext cx="40576" cy="23526"/>
              </a:xfrm>
              <a:custGeom>
                <a:avLst/>
                <a:gdLst>
                  <a:gd name="connsiteX0" fmla="*/ 40576 w 40576"/>
                  <a:gd name="connsiteY0" fmla="*/ 23527 h 23526"/>
                  <a:gd name="connsiteX1" fmla="*/ 0 w 40576"/>
                  <a:gd name="connsiteY1" fmla="*/ 0 h 23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576" h="23526">
                    <a:moveTo>
                      <a:pt x="40576" y="23527"/>
                    </a:moveTo>
                    <a:lnTo>
                      <a:pt x="0" y="0"/>
                    </a:lnTo>
                  </a:path>
                </a:pathLst>
              </a:custGeom>
              <a:ln w="26384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1" name="Freeform 60">
                <a:extLst>
                  <a:ext uri="{FF2B5EF4-FFF2-40B4-BE49-F238E27FC236}">
                    <a16:creationId xmlns:a16="http://schemas.microsoft.com/office/drawing/2014/main" id="{F0653CC3-9C99-EF43-B987-D78A94009EDC}"/>
                  </a:ext>
                </a:extLst>
              </p:cNvPr>
              <p:cNvSpPr/>
              <p:nvPr/>
            </p:nvSpPr>
            <p:spPr>
              <a:xfrm>
                <a:off x="1369315" y="4990012"/>
                <a:ext cx="46958" cy="9525"/>
              </a:xfrm>
              <a:custGeom>
                <a:avLst/>
                <a:gdLst>
                  <a:gd name="connsiteX0" fmla="*/ 46958 w 46958"/>
                  <a:gd name="connsiteY0" fmla="*/ 0 h 9525"/>
                  <a:gd name="connsiteX1" fmla="*/ 0 w 4695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958" h="9525">
                    <a:moveTo>
                      <a:pt x="46958" y="0"/>
                    </a:moveTo>
                    <a:lnTo>
                      <a:pt x="0" y="0"/>
                    </a:lnTo>
                  </a:path>
                </a:pathLst>
              </a:custGeom>
              <a:ln w="26384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2" name="Freeform 61">
                <a:extLst>
                  <a:ext uri="{FF2B5EF4-FFF2-40B4-BE49-F238E27FC236}">
                    <a16:creationId xmlns:a16="http://schemas.microsoft.com/office/drawing/2014/main" id="{5F9B6FD0-977C-0A4D-BA99-943CFEC2A4C2}"/>
                  </a:ext>
                </a:extLst>
              </p:cNvPr>
              <p:cNvSpPr/>
              <p:nvPr/>
            </p:nvSpPr>
            <p:spPr>
              <a:xfrm>
                <a:off x="1414559" y="5135078"/>
                <a:ext cx="40576" cy="23526"/>
              </a:xfrm>
              <a:custGeom>
                <a:avLst/>
                <a:gdLst>
                  <a:gd name="connsiteX0" fmla="*/ 40576 w 40576"/>
                  <a:gd name="connsiteY0" fmla="*/ 0 h 23526"/>
                  <a:gd name="connsiteX1" fmla="*/ 0 w 40576"/>
                  <a:gd name="connsiteY1" fmla="*/ 23527 h 23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576" h="23526">
                    <a:moveTo>
                      <a:pt x="40576" y="0"/>
                    </a:moveTo>
                    <a:lnTo>
                      <a:pt x="0" y="23527"/>
                    </a:lnTo>
                  </a:path>
                </a:pathLst>
              </a:custGeom>
              <a:ln w="26384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8" name="Graphic 107">
              <a:extLst>
                <a:ext uri="{FF2B5EF4-FFF2-40B4-BE49-F238E27FC236}">
                  <a16:creationId xmlns:a16="http://schemas.microsoft.com/office/drawing/2014/main" id="{6059B050-064E-3C48-94BB-E3A4B428BEFC}"/>
                </a:ext>
              </a:extLst>
            </p:cNvPr>
            <p:cNvGrpSpPr/>
            <p:nvPr/>
          </p:nvGrpSpPr>
          <p:grpSpPr>
            <a:xfrm>
              <a:off x="1076612" y="4414416"/>
              <a:ext cx="1259586" cy="1259586"/>
              <a:chOff x="1076612" y="4414416"/>
              <a:chExt cx="1259586" cy="1259586"/>
            </a:xfrm>
            <a:solidFill>
              <a:schemeClr val="accent1"/>
            </a:solidFill>
          </p:grpSpPr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9DDFFCF8-5E5D-DE48-B109-22F6C6062D8C}"/>
                  </a:ext>
                </a:extLst>
              </p:cNvPr>
              <p:cNvSpPr/>
              <p:nvPr/>
            </p:nvSpPr>
            <p:spPr>
              <a:xfrm>
                <a:off x="1076612" y="4414416"/>
                <a:ext cx="1259586" cy="1259586"/>
              </a:xfrm>
              <a:custGeom>
                <a:avLst/>
                <a:gdLst>
                  <a:gd name="connsiteX0" fmla="*/ 629888 w 1259586"/>
                  <a:gd name="connsiteY0" fmla="*/ 1259586 h 1259586"/>
                  <a:gd name="connsiteX1" fmla="*/ 0 w 1259586"/>
                  <a:gd name="connsiteY1" fmla="*/ 629888 h 1259586"/>
                  <a:gd name="connsiteX2" fmla="*/ 629698 w 1259586"/>
                  <a:gd name="connsiteY2" fmla="*/ 0 h 1259586"/>
                  <a:gd name="connsiteX3" fmla="*/ 1259586 w 1259586"/>
                  <a:gd name="connsiteY3" fmla="*/ 629698 h 1259586"/>
                  <a:gd name="connsiteX4" fmla="*/ 1259586 w 1259586"/>
                  <a:gd name="connsiteY4" fmla="*/ 629888 h 1259586"/>
                  <a:gd name="connsiteX5" fmla="*/ 629888 w 1259586"/>
                  <a:gd name="connsiteY5" fmla="*/ 1259586 h 1259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59586" h="1259586">
                    <a:moveTo>
                      <a:pt x="629888" y="1259586"/>
                    </a:moveTo>
                    <a:cubicBezTo>
                      <a:pt x="282063" y="1259639"/>
                      <a:pt x="53" y="977713"/>
                      <a:pt x="0" y="629888"/>
                    </a:cubicBezTo>
                    <a:cubicBezTo>
                      <a:pt x="-53" y="282063"/>
                      <a:pt x="281873" y="53"/>
                      <a:pt x="629698" y="0"/>
                    </a:cubicBezTo>
                    <a:cubicBezTo>
                      <a:pt x="977523" y="-53"/>
                      <a:pt x="1259533" y="281873"/>
                      <a:pt x="1259586" y="629698"/>
                    </a:cubicBezTo>
                    <a:cubicBezTo>
                      <a:pt x="1259586" y="629761"/>
                      <a:pt x="1259586" y="629825"/>
                      <a:pt x="1259586" y="629888"/>
                    </a:cubicBezTo>
                    <a:cubicBezTo>
                      <a:pt x="1259166" y="977487"/>
                      <a:pt x="977487" y="1259166"/>
                      <a:pt x="629888" y="125958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50D4CF17-2940-9744-A8B3-84BEB1DAEAA6}"/>
                  </a:ext>
                </a:extLst>
              </p:cNvPr>
              <p:cNvSpPr/>
              <p:nvPr/>
            </p:nvSpPr>
            <p:spPr>
              <a:xfrm>
                <a:off x="1496950" y="4780462"/>
                <a:ext cx="419100" cy="419100"/>
              </a:xfrm>
              <a:custGeom>
                <a:avLst/>
                <a:gdLst>
                  <a:gd name="connsiteX0" fmla="*/ 419100 w 419100"/>
                  <a:gd name="connsiteY0" fmla="*/ 209550 h 419100"/>
                  <a:gd name="connsiteX1" fmla="*/ 209550 w 419100"/>
                  <a:gd name="connsiteY1" fmla="*/ 419100 h 419100"/>
                  <a:gd name="connsiteX2" fmla="*/ 0 w 419100"/>
                  <a:gd name="connsiteY2" fmla="*/ 209550 h 419100"/>
                  <a:gd name="connsiteX3" fmla="*/ 209550 w 419100"/>
                  <a:gd name="connsiteY3" fmla="*/ 0 h 419100"/>
                  <a:gd name="connsiteX4" fmla="*/ 419100 w 419100"/>
                  <a:gd name="connsiteY4" fmla="*/ 209550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9100" h="419100">
                    <a:moveTo>
                      <a:pt x="419100" y="209550"/>
                    </a:moveTo>
                    <a:cubicBezTo>
                      <a:pt x="419100" y="325281"/>
                      <a:pt x="325281" y="419100"/>
                      <a:pt x="209550" y="419100"/>
                    </a:cubicBezTo>
                    <a:cubicBezTo>
                      <a:pt x="93819" y="419100"/>
                      <a:pt x="0" y="325281"/>
                      <a:pt x="0" y="209550"/>
                    </a:cubicBezTo>
                    <a:cubicBezTo>
                      <a:pt x="0" y="93819"/>
                      <a:pt x="93819" y="0"/>
                      <a:pt x="209550" y="0"/>
                    </a:cubicBezTo>
                    <a:cubicBezTo>
                      <a:pt x="325281" y="0"/>
                      <a:pt x="419100" y="93819"/>
                      <a:pt x="419100" y="209550"/>
                    </a:cubicBezTo>
                    <a:close/>
                  </a:path>
                </a:pathLst>
              </a:custGeom>
              <a:no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E41EAC10-2C3C-5748-B3E7-9B3F19980480}"/>
                  </a:ext>
                </a:extLst>
              </p:cNvPr>
              <p:cNvSpPr/>
              <p:nvPr/>
            </p:nvSpPr>
            <p:spPr>
              <a:xfrm>
                <a:off x="1496950" y="4779799"/>
                <a:ext cx="419100" cy="545302"/>
              </a:xfrm>
              <a:custGeom>
                <a:avLst/>
                <a:gdLst>
                  <a:gd name="connsiteX0" fmla="*/ 419100 w 419100"/>
                  <a:gd name="connsiteY0" fmla="*/ 209928 h 545302"/>
                  <a:gd name="connsiteX1" fmla="*/ 209928 w 419100"/>
                  <a:gd name="connsiteY1" fmla="*/ 0 h 545302"/>
                  <a:gd name="connsiteX2" fmla="*/ 0 w 419100"/>
                  <a:gd name="connsiteY2" fmla="*/ 209173 h 545302"/>
                  <a:gd name="connsiteX3" fmla="*/ 57150 w 419100"/>
                  <a:gd name="connsiteY3" fmla="*/ 353374 h 545302"/>
                  <a:gd name="connsiteX4" fmla="*/ 126111 w 419100"/>
                  <a:gd name="connsiteY4" fmla="*/ 532254 h 545302"/>
                  <a:gd name="connsiteX5" fmla="*/ 126111 w 419100"/>
                  <a:gd name="connsiteY5" fmla="*/ 532254 h 545302"/>
                  <a:gd name="connsiteX6" fmla="*/ 139160 w 419100"/>
                  <a:gd name="connsiteY6" fmla="*/ 545303 h 545302"/>
                  <a:gd name="connsiteX7" fmla="*/ 280320 w 419100"/>
                  <a:gd name="connsiteY7" fmla="*/ 545303 h 545302"/>
                  <a:gd name="connsiteX8" fmla="*/ 293370 w 419100"/>
                  <a:gd name="connsiteY8" fmla="*/ 532254 h 545302"/>
                  <a:gd name="connsiteX9" fmla="*/ 293370 w 419100"/>
                  <a:gd name="connsiteY9" fmla="*/ 532254 h 545302"/>
                  <a:gd name="connsiteX10" fmla="*/ 365664 w 419100"/>
                  <a:gd name="connsiteY10" fmla="*/ 349659 h 545302"/>
                  <a:gd name="connsiteX11" fmla="*/ 419100 w 419100"/>
                  <a:gd name="connsiteY11" fmla="*/ 209928 h 545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19100" h="545302">
                    <a:moveTo>
                      <a:pt x="419100" y="209928"/>
                    </a:moveTo>
                    <a:cubicBezTo>
                      <a:pt x="419308" y="94196"/>
                      <a:pt x="325659" y="209"/>
                      <a:pt x="209928" y="0"/>
                    </a:cubicBezTo>
                    <a:cubicBezTo>
                      <a:pt x="94196" y="-208"/>
                      <a:pt x="209" y="93441"/>
                      <a:pt x="0" y="209173"/>
                    </a:cubicBezTo>
                    <a:cubicBezTo>
                      <a:pt x="-96" y="262780"/>
                      <a:pt x="20356" y="314386"/>
                      <a:pt x="57150" y="353374"/>
                    </a:cubicBezTo>
                    <a:cubicBezTo>
                      <a:pt x="102039" y="402067"/>
                      <a:pt x="126697" y="466029"/>
                      <a:pt x="126111" y="532254"/>
                    </a:cubicBezTo>
                    <a:lnTo>
                      <a:pt x="126111" y="532254"/>
                    </a:lnTo>
                    <a:cubicBezTo>
                      <a:pt x="126111" y="539460"/>
                      <a:pt x="131953" y="545303"/>
                      <a:pt x="139160" y="545303"/>
                    </a:cubicBezTo>
                    <a:lnTo>
                      <a:pt x="280320" y="545303"/>
                    </a:lnTo>
                    <a:cubicBezTo>
                      <a:pt x="287527" y="545303"/>
                      <a:pt x="293370" y="539460"/>
                      <a:pt x="293370" y="532254"/>
                    </a:cubicBezTo>
                    <a:lnTo>
                      <a:pt x="293370" y="532254"/>
                    </a:lnTo>
                    <a:cubicBezTo>
                      <a:pt x="294136" y="464558"/>
                      <a:pt x="319882" y="399532"/>
                      <a:pt x="365664" y="349659"/>
                    </a:cubicBezTo>
                    <a:cubicBezTo>
                      <a:pt x="400148" y="311296"/>
                      <a:pt x="419186" y="261511"/>
                      <a:pt x="419100" y="209928"/>
                    </a:cubicBezTo>
                    <a:close/>
                  </a:path>
                </a:pathLst>
              </a:custGeom>
              <a:noFill/>
              <a:ln w="41910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4BCA772D-C54F-9B40-9183-3D853EAE2171}"/>
                  </a:ext>
                </a:extLst>
              </p:cNvPr>
              <p:cNvSpPr/>
              <p:nvPr/>
            </p:nvSpPr>
            <p:spPr>
              <a:xfrm>
                <a:off x="1684497" y="4971820"/>
                <a:ext cx="44005" cy="80771"/>
              </a:xfrm>
              <a:custGeom>
                <a:avLst/>
                <a:gdLst>
                  <a:gd name="connsiteX0" fmla="*/ 44006 w 44005"/>
                  <a:gd name="connsiteY0" fmla="*/ 40386 h 80771"/>
                  <a:gd name="connsiteX1" fmla="*/ 22003 w 44005"/>
                  <a:gd name="connsiteY1" fmla="*/ 80772 h 80771"/>
                  <a:gd name="connsiteX2" fmla="*/ 0 w 44005"/>
                  <a:gd name="connsiteY2" fmla="*/ 40386 h 80771"/>
                  <a:gd name="connsiteX3" fmla="*/ 22003 w 44005"/>
                  <a:gd name="connsiteY3" fmla="*/ 0 h 80771"/>
                  <a:gd name="connsiteX4" fmla="*/ 44006 w 44005"/>
                  <a:gd name="connsiteY4" fmla="*/ 40386 h 80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005" h="80771">
                    <a:moveTo>
                      <a:pt x="44006" y="40386"/>
                    </a:moveTo>
                    <a:cubicBezTo>
                      <a:pt x="44006" y="62691"/>
                      <a:pt x="34155" y="80772"/>
                      <a:pt x="22003" y="80772"/>
                    </a:cubicBezTo>
                    <a:cubicBezTo>
                      <a:pt x="9851" y="80772"/>
                      <a:pt x="0" y="62691"/>
                      <a:pt x="0" y="40386"/>
                    </a:cubicBezTo>
                    <a:cubicBezTo>
                      <a:pt x="0" y="18081"/>
                      <a:pt x="9851" y="0"/>
                      <a:pt x="22003" y="0"/>
                    </a:cubicBezTo>
                    <a:cubicBezTo>
                      <a:pt x="34155" y="0"/>
                      <a:pt x="44006" y="18081"/>
                      <a:pt x="44006" y="40386"/>
                    </a:cubicBezTo>
                    <a:close/>
                  </a:path>
                </a:pathLst>
              </a:custGeom>
              <a:noFill/>
              <a:ln w="25146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9D3E4ACC-B2EF-5F43-8B7B-105715ED7961}"/>
                  </a:ext>
                </a:extLst>
              </p:cNvPr>
              <p:cNvSpPr/>
              <p:nvPr/>
            </p:nvSpPr>
            <p:spPr>
              <a:xfrm rot="-2700000">
                <a:off x="1603750" y="5026298"/>
                <a:ext cx="34861" cy="63817"/>
              </a:xfrm>
              <a:custGeom>
                <a:avLst/>
                <a:gdLst>
                  <a:gd name="connsiteX0" fmla="*/ 34861 w 34861"/>
                  <a:gd name="connsiteY0" fmla="*/ 31909 h 63817"/>
                  <a:gd name="connsiteX1" fmla="*/ 17431 w 34861"/>
                  <a:gd name="connsiteY1" fmla="*/ 63818 h 63817"/>
                  <a:gd name="connsiteX2" fmla="*/ 0 w 34861"/>
                  <a:gd name="connsiteY2" fmla="*/ 31909 h 63817"/>
                  <a:gd name="connsiteX3" fmla="*/ 17431 w 34861"/>
                  <a:gd name="connsiteY3" fmla="*/ 0 h 63817"/>
                  <a:gd name="connsiteX4" fmla="*/ 34861 w 34861"/>
                  <a:gd name="connsiteY4" fmla="*/ 31909 h 63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861" h="63817">
                    <a:moveTo>
                      <a:pt x="34861" y="31909"/>
                    </a:moveTo>
                    <a:cubicBezTo>
                      <a:pt x="34861" y="49531"/>
                      <a:pt x="27057" y="63818"/>
                      <a:pt x="17431" y="63818"/>
                    </a:cubicBezTo>
                    <a:cubicBezTo>
                      <a:pt x="7804" y="63818"/>
                      <a:pt x="0" y="49531"/>
                      <a:pt x="0" y="31909"/>
                    </a:cubicBezTo>
                    <a:cubicBezTo>
                      <a:pt x="0" y="14286"/>
                      <a:pt x="7804" y="0"/>
                      <a:pt x="17431" y="0"/>
                    </a:cubicBezTo>
                    <a:cubicBezTo>
                      <a:pt x="27057" y="0"/>
                      <a:pt x="34861" y="14286"/>
                      <a:pt x="34861" y="31909"/>
                    </a:cubicBezTo>
                    <a:close/>
                  </a:path>
                </a:pathLst>
              </a:custGeom>
              <a:noFill/>
              <a:ln w="25146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5D6038AA-8582-FB4A-9D50-64F78241C048}"/>
                  </a:ext>
                </a:extLst>
              </p:cNvPr>
              <p:cNvSpPr/>
              <p:nvPr/>
            </p:nvSpPr>
            <p:spPr>
              <a:xfrm>
                <a:off x="1643921" y="5060593"/>
                <a:ext cx="29735" cy="248983"/>
              </a:xfrm>
              <a:custGeom>
                <a:avLst/>
                <a:gdLst>
                  <a:gd name="connsiteX0" fmla="*/ 26098 w 29735"/>
                  <a:gd name="connsiteY0" fmla="*/ 248984 h 248983"/>
                  <a:gd name="connsiteX1" fmla="*/ 0 w 29735"/>
                  <a:gd name="connsiteY1" fmla="*/ 0 h 248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35" h="248983">
                    <a:moveTo>
                      <a:pt x="26098" y="248984"/>
                    </a:moveTo>
                    <a:cubicBezTo>
                      <a:pt x="26098" y="248984"/>
                      <a:pt x="44101" y="69056"/>
                      <a:pt x="0" y="0"/>
                    </a:cubicBezTo>
                  </a:path>
                </a:pathLst>
              </a:custGeom>
              <a:noFill/>
              <a:ln w="25146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4C831E9D-CDF7-834E-9622-7A0B84BB3394}"/>
                  </a:ext>
                </a:extLst>
              </p:cNvPr>
              <p:cNvSpPr/>
              <p:nvPr/>
            </p:nvSpPr>
            <p:spPr>
              <a:xfrm>
                <a:off x="1631634" y="5046877"/>
                <a:ext cx="86487" cy="37842"/>
              </a:xfrm>
              <a:custGeom>
                <a:avLst/>
                <a:gdLst>
                  <a:gd name="connsiteX0" fmla="*/ 0 w 86487"/>
                  <a:gd name="connsiteY0" fmla="*/ 36671 h 37842"/>
                  <a:gd name="connsiteX1" fmla="*/ 86487 w 86487"/>
                  <a:gd name="connsiteY1" fmla="*/ 0 h 37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6487" h="37842">
                    <a:moveTo>
                      <a:pt x="0" y="36671"/>
                    </a:moveTo>
                    <a:cubicBezTo>
                      <a:pt x="33493" y="42190"/>
                      <a:pt x="67168" y="27911"/>
                      <a:pt x="86487" y="0"/>
                    </a:cubicBezTo>
                  </a:path>
                </a:pathLst>
              </a:custGeom>
              <a:noFill/>
              <a:ln w="25146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9F3D28B3-273D-F343-8113-D4B7DB10256B}"/>
                  </a:ext>
                </a:extLst>
              </p:cNvPr>
              <p:cNvSpPr/>
              <p:nvPr/>
            </p:nvSpPr>
            <p:spPr>
              <a:xfrm>
                <a:off x="1684497" y="4971820"/>
                <a:ext cx="44005" cy="80771"/>
              </a:xfrm>
              <a:custGeom>
                <a:avLst/>
                <a:gdLst>
                  <a:gd name="connsiteX0" fmla="*/ 44006 w 44005"/>
                  <a:gd name="connsiteY0" fmla="*/ 40386 h 80771"/>
                  <a:gd name="connsiteX1" fmla="*/ 22003 w 44005"/>
                  <a:gd name="connsiteY1" fmla="*/ 80772 h 80771"/>
                  <a:gd name="connsiteX2" fmla="*/ 0 w 44005"/>
                  <a:gd name="connsiteY2" fmla="*/ 40386 h 80771"/>
                  <a:gd name="connsiteX3" fmla="*/ 22003 w 44005"/>
                  <a:gd name="connsiteY3" fmla="*/ 0 h 80771"/>
                  <a:gd name="connsiteX4" fmla="*/ 44006 w 44005"/>
                  <a:gd name="connsiteY4" fmla="*/ 40386 h 80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005" h="80771">
                    <a:moveTo>
                      <a:pt x="44006" y="40386"/>
                    </a:moveTo>
                    <a:cubicBezTo>
                      <a:pt x="44006" y="62691"/>
                      <a:pt x="34155" y="80772"/>
                      <a:pt x="22003" y="80772"/>
                    </a:cubicBezTo>
                    <a:cubicBezTo>
                      <a:pt x="9851" y="80772"/>
                      <a:pt x="0" y="62691"/>
                      <a:pt x="0" y="40386"/>
                    </a:cubicBezTo>
                    <a:cubicBezTo>
                      <a:pt x="0" y="18081"/>
                      <a:pt x="9851" y="0"/>
                      <a:pt x="22003" y="0"/>
                    </a:cubicBezTo>
                    <a:cubicBezTo>
                      <a:pt x="34155" y="0"/>
                      <a:pt x="44006" y="18081"/>
                      <a:pt x="44006" y="40386"/>
                    </a:cubicBezTo>
                    <a:close/>
                  </a:path>
                </a:pathLst>
              </a:custGeom>
              <a:noFill/>
              <a:ln w="25146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F09A66AE-7E90-AD4E-91FF-B3FD7C859EFE}"/>
                  </a:ext>
                </a:extLst>
              </p:cNvPr>
              <p:cNvSpPr/>
              <p:nvPr/>
            </p:nvSpPr>
            <p:spPr>
              <a:xfrm rot="-2700000">
                <a:off x="1759973" y="5040763"/>
                <a:ext cx="63817" cy="34861"/>
              </a:xfrm>
              <a:custGeom>
                <a:avLst/>
                <a:gdLst>
                  <a:gd name="connsiteX0" fmla="*/ 63818 w 63817"/>
                  <a:gd name="connsiteY0" fmla="*/ 17431 h 34861"/>
                  <a:gd name="connsiteX1" fmla="*/ 31909 w 63817"/>
                  <a:gd name="connsiteY1" fmla="*/ 34862 h 34861"/>
                  <a:gd name="connsiteX2" fmla="*/ 0 w 63817"/>
                  <a:gd name="connsiteY2" fmla="*/ 17431 h 34861"/>
                  <a:gd name="connsiteX3" fmla="*/ 31909 w 63817"/>
                  <a:gd name="connsiteY3" fmla="*/ 0 h 34861"/>
                  <a:gd name="connsiteX4" fmla="*/ 63818 w 63817"/>
                  <a:gd name="connsiteY4" fmla="*/ 17431 h 348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3817" h="34861">
                    <a:moveTo>
                      <a:pt x="63818" y="17431"/>
                    </a:moveTo>
                    <a:cubicBezTo>
                      <a:pt x="63818" y="27058"/>
                      <a:pt x="49531" y="34862"/>
                      <a:pt x="31909" y="34862"/>
                    </a:cubicBezTo>
                    <a:cubicBezTo>
                      <a:pt x="14286" y="34862"/>
                      <a:pt x="0" y="27058"/>
                      <a:pt x="0" y="17431"/>
                    </a:cubicBezTo>
                    <a:cubicBezTo>
                      <a:pt x="0" y="7804"/>
                      <a:pt x="14286" y="0"/>
                      <a:pt x="31909" y="0"/>
                    </a:cubicBezTo>
                    <a:cubicBezTo>
                      <a:pt x="49531" y="0"/>
                      <a:pt x="63818" y="7804"/>
                      <a:pt x="63818" y="17431"/>
                    </a:cubicBezTo>
                    <a:close/>
                  </a:path>
                </a:pathLst>
              </a:custGeom>
              <a:noFill/>
              <a:ln w="25146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0EFBD25-6A81-5240-9078-EEB32C40E0A9}"/>
                  </a:ext>
                </a:extLst>
              </p:cNvPr>
              <p:cNvSpPr/>
              <p:nvPr/>
            </p:nvSpPr>
            <p:spPr>
              <a:xfrm>
                <a:off x="1739312" y="5060593"/>
                <a:ext cx="29767" cy="248983"/>
              </a:xfrm>
              <a:custGeom>
                <a:avLst/>
                <a:gdLst>
                  <a:gd name="connsiteX0" fmla="*/ 3669 w 29767"/>
                  <a:gd name="connsiteY0" fmla="*/ 248984 h 248983"/>
                  <a:gd name="connsiteX1" fmla="*/ 29767 w 29767"/>
                  <a:gd name="connsiteY1" fmla="*/ 0 h 2489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67" h="248983">
                    <a:moveTo>
                      <a:pt x="3669" y="248984"/>
                    </a:moveTo>
                    <a:cubicBezTo>
                      <a:pt x="3669" y="248984"/>
                      <a:pt x="-14429" y="69056"/>
                      <a:pt x="29767" y="0"/>
                    </a:cubicBezTo>
                  </a:path>
                </a:pathLst>
              </a:custGeom>
              <a:noFill/>
              <a:ln w="25146" cap="flat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0D24F537-2708-D44B-A5BF-E9A5CE487752}"/>
                  </a:ext>
                </a:extLst>
              </p:cNvPr>
              <p:cNvSpPr/>
              <p:nvPr/>
            </p:nvSpPr>
            <p:spPr>
              <a:xfrm>
                <a:off x="1694880" y="5046877"/>
                <a:ext cx="86487" cy="37850"/>
              </a:xfrm>
              <a:custGeom>
                <a:avLst/>
                <a:gdLst>
                  <a:gd name="connsiteX0" fmla="*/ 86487 w 86487"/>
                  <a:gd name="connsiteY0" fmla="*/ 36671 h 37850"/>
                  <a:gd name="connsiteX1" fmla="*/ 0 w 86487"/>
                  <a:gd name="connsiteY1" fmla="*/ 0 h 37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6487" h="37850">
                    <a:moveTo>
                      <a:pt x="86487" y="36671"/>
                    </a:moveTo>
                    <a:cubicBezTo>
                      <a:pt x="52991" y="42214"/>
                      <a:pt x="19304" y="27930"/>
                      <a:pt x="0" y="0"/>
                    </a:cubicBezTo>
                  </a:path>
                </a:pathLst>
              </a:custGeom>
              <a:noFill/>
              <a:ln w="25146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901B8C90-214E-5149-9693-91C49174FBAE}"/>
                  </a:ext>
                </a:extLst>
              </p:cNvPr>
              <p:cNvSpPr/>
              <p:nvPr/>
            </p:nvSpPr>
            <p:spPr>
              <a:xfrm>
                <a:off x="1643921" y="5383776"/>
                <a:ext cx="125158" cy="9525"/>
              </a:xfrm>
              <a:custGeom>
                <a:avLst/>
                <a:gdLst>
                  <a:gd name="connsiteX0" fmla="*/ 0 w 125158"/>
                  <a:gd name="connsiteY0" fmla="*/ 0 h 9525"/>
                  <a:gd name="connsiteX1" fmla="*/ 125159 w 12515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5158" h="9525">
                    <a:moveTo>
                      <a:pt x="0" y="0"/>
                    </a:moveTo>
                    <a:lnTo>
                      <a:pt x="125159" y="0"/>
                    </a:lnTo>
                  </a:path>
                </a:pathLst>
              </a:custGeom>
              <a:ln w="41910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63B5723E-67FF-0942-AA5E-D53D759308B7}"/>
                  </a:ext>
                </a:extLst>
              </p:cNvPr>
              <p:cNvSpPr/>
              <p:nvPr/>
            </p:nvSpPr>
            <p:spPr>
              <a:xfrm>
                <a:off x="1660875" y="5435592"/>
                <a:ext cx="91249" cy="9525"/>
              </a:xfrm>
              <a:custGeom>
                <a:avLst/>
                <a:gdLst>
                  <a:gd name="connsiteX0" fmla="*/ 0 w 91249"/>
                  <a:gd name="connsiteY0" fmla="*/ 0 h 9525"/>
                  <a:gd name="connsiteX1" fmla="*/ 91250 w 91249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1249" h="9525">
                    <a:moveTo>
                      <a:pt x="0" y="0"/>
                    </a:moveTo>
                    <a:lnTo>
                      <a:pt x="91250" y="0"/>
                    </a:lnTo>
                  </a:path>
                </a:pathLst>
              </a:custGeom>
              <a:ln w="41910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A02E94D7-3603-0049-8263-656DF7CD1118}"/>
                  </a:ext>
                </a:extLst>
              </p:cNvPr>
              <p:cNvSpPr/>
              <p:nvPr/>
            </p:nvSpPr>
            <p:spPr>
              <a:xfrm>
                <a:off x="1706500" y="4652923"/>
                <a:ext cx="9525" cy="46863"/>
              </a:xfrm>
              <a:custGeom>
                <a:avLst/>
                <a:gdLst>
                  <a:gd name="connsiteX0" fmla="*/ 0 w 9525"/>
                  <a:gd name="connsiteY0" fmla="*/ 46863 h 46863"/>
                  <a:gd name="connsiteX1" fmla="*/ 0 w 9525"/>
                  <a:gd name="connsiteY1" fmla="*/ 0 h 46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46863">
                    <a:moveTo>
                      <a:pt x="0" y="46863"/>
                    </a:moveTo>
                    <a:lnTo>
                      <a:pt x="0" y="0"/>
                    </a:lnTo>
                  </a:path>
                </a:pathLst>
              </a:custGeom>
              <a:ln w="26384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FC6C630F-5C85-4E41-B856-551048773BCC}"/>
                  </a:ext>
                </a:extLst>
              </p:cNvPr>
              <p:cNvSpPr/>
              <p:nvPr/>
            </p:nvSpPr>
            <p:spPr>
              <a:xfrm>
                <a:off x="1851566" y="4698071"/>
                <a:ext cx="23526" cy="40576"/>
              </a:xfrm>
              <a:custGeom>
                <a:avLst/>
                <a:gdLst>
                  <a:gd name="connsiteX0" fmla="*/ 0 w 23526"/>
                  <a:gd name="connsiteY0" fmla="*/ 40576 h 40576"/>
                  <a:gd name="connsiteX1" fmla="*/ 23527 w 23526"/>
                  <a:gd name="connsiteY1" fmla="*/ 0 h 40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526" h="40576">
                    <a:moveTo>
                      <a:pt x="0" y="40576"/>
                    </a:moveTo>
                    <a:lnTo>
                      <a:pt x="23527" y="0"/>
                    </a:lnTo>
                  </a:path>
                </a:pathLst>
              </a:custGeom>
              <a:ln w="26384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7FAA4617-DF87-8E48-B2DA-F1C57E40A954}"/>
                  </a:ext>
                </a:extLst>
              </p:cNvPr>
              <p:cNvSpPr/>
              <p:nvPr/>
            </p:nvSpPr>
            <p:spPr>
              <a:xfrm>
                <a:off x="1957865" y="4821420"/>
                <a:ext cx="40576" cy="23526"/>
              </a:xfrm>
              <a:custGeom>
                <a:avLst/>
                <a:gdLst>
                  <a:gd name="connsiteX0" fmla="*/ 0 w 40576"/>
                  <a:gd name="connsiteY0" fmla="*/ 23527 h 23526"/>
                  <a:gd name="connsiteX1" fmla="*/ 40576 w 40576"/>
                  <a:gd name="connsiteY1" fmla="*/ 0 h 23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576" h="23526">
                    <a:moveTo>
                      <a:pt x="0" y="23527"/>
                    </a:moveTo>
                    <a:lnTo>
                      <a:pt x="40576" y="0"/>
                    </a:lnTo>
                  </a:path>
                </a:pathLst>
              </a:custGeom>
              <a:ln w="26384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FCDF69FD-0274-134F-821E-165CED22D697}"/>
                  </a:ext>
                </a:extLst>
              </p:cNvPr>
              <p:cNvSpPr/>
              <p:nvPr/>
            </p:nvSpPr>
            <p:spPr>
              <a:xfrm>
                <a:off x="1996727" y="4990012"/>
                <a:ext cx="46863" cy="9525"/>
              </a:xfrm>
              <a:custGeom>
                <a:avLst/>
                <a:gdLst>
                  <a:gd name="connsiteX0" fmla="*/ 0 w 46863"/>
                  <a:gd name="connsiteY0" fmla="*/ 0 h 9525"/>
                  <a:gd name="connsiteX1" fmla="*/ 46863 w 46863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863" h="9525">
                    <a:moveTo>
                      <a:pt x="0" y="0"/>
                    </a:moveTo>
                    <a:lnTo>
                      <a:pt x="46863" y="0"/>
                    </a:lnTo>
                  </a:path>
                </a:pathLst>
              </a:custGeom>
              <a:ln w="26384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F029631-DE0E-F34F-8DCE-79C88D3100D0}"/>
                  </a:ext>
                </a:extLst>
              </p:cNvPr>
              <p:cNvSpPr/>
              <p:nvPr/>
            </p:nvSpPr>
            <p:spPr>
              <a:xfrm>
                <a:off x="1957865" y="5135078"/>
                <a:ext cx="40576" cy="23526"/>
              </a:xfrm>
              <a:custGeom>
                <a:avLst/>
                <a:gdLst>
                  <a:gd name="connsiteX0" fmla="*/ 0 w 40576"/>
                  <a:gd name="connsiteY0" fmla="*/ 0 h 23526"/>
                  <a:gd name="connsiteX1" fmla="*/ 40576 w 40576"/>
                  <a:gd name="connsiteY1" fmla="*/ 23527 h 23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576" h="23526">
                    <a:moveTo>
                      <a:pt x="0" y="0"/>
                    </a:moveTo>
                    <a:lnTo>
                      <a:pt x="40576" y="23527"/>
                    </a:lnTo>
                  </a:path>
                </a:pathLst>
              </a:custGeom>
              <a:ln w="26384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5755EDF7-7B41-F542-97A2-4310916B699A}"/>
                  </a:ext>
                </a:extLst>
              </p:cNvPr>
              <p:cNvSpPr/>
              <p:nvPr/>
            </p:nvSpPr>
            <p:spPr>
              <a:xfrm>
                <a:off x="1537908" y="4698071"/>
                <a:ext cx="23431" cy="40576"/>
              </a:xfrm>
              <a:custGeom>
                <a:avLst/>
                <a:gdLst>
                  <a:gd name="connsiteX0" fmla="*/ 23431 w 23431"/>
                  <a:gd name="connsiteY0" fmla="*/ 40576 h 40576"/>
                  <a:gd name="connsiteX1" fmla="*/ 0 w 23431"/>
                  <a:gd name="connsiteY1" fmla="*/ 0 h 40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431" h="40576">
                    <a:moveTo>
                      <a:pt x="23431" y="40576"/>
                    </a:moveTo>
                    <a:lnTo>
                      <a:pt x="0" y="0"/>
                    </a:lnTo>
                  </a:path>
                </a:pathLst>
              </a:custGeom>
              <a:ln w="26384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7FFAA8B5-3E5C-3D4D-894E-5C2CA33B85D9}"/>
                  </a:ext>
                </a:extLst>
              </p:cNvPr>
              <p:cNvSpPr/>
              <p:nvPr/>
            </p:nvSpPr>
            <p:spPr>
              <a:xfrm>
                <a:off x="1414559" y="4821420"/>
                <a:ext cx="40576" cy="23526"/>
              </a:xfrm>
              <a:custGeom>
                <a:avLst/>
                <a:gdLst>
                  <a:gd name="connsiteX0" fmla="*/ 40576 w 40576"/>
                  <a:gd name="connsiteY0" fmla="*/ 23527 h 23526"/>
                  <a:gd name="connsiteX1" fmla="*/ 0 w 40576"/>
                  <a:gd name="connsiteY1" fmla="*/ 0 h 23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576" h="23526">
                    <a:moveTo>
                      <a:pt x="40576" y="23527"/>
                    </a:moveTo>
                    <a:lnTo>
                      <a:pt x="0" y="0"/>
                    </a:lnTo>
                  </a:path>
                </a:pathLst>
              </a:custGeom>
              <a:ln w="26384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9C3AE700-C649-C540-A26E-0170B48372F0}"/>
                  </a:ext>
                </a:extLst>
              </p:cNvPr>
              <p:cNvSpPr/>
              <p:nvPr/>
            </p:nvSpPr>
            <p:spPr>
              <a:xfrm>
                <a:off x="1369315" y="4990012"/>
                <a:ext cx="46958" cy="9525"/>
              </a:xfrm>
              <a:custGeom>
                <a:avLst/>
                <a:gdLst>
                  <a:gd name="connsiteX0" fmla="*/ 46958 w 46958"/>
                  <a:gd name="connsiteY0" fmla="*/ 0 h 9525"/>
                  <a:gd name="connsiteX1" fmla="*/ 0 w 46958"/>
                  <a:gd name="connsiteY1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6958" h="9525">
                    <a:moveTo>
                      <a:pt x="46958" y="0"/>
                    </a:moveTo>
                    <a:lnTo>
                      <a:pt x="0" y="0"/>
                    </a:lnTo>
                  </a:path>
                </a:pathLst>
              </a:custGeom>
              <a:ln w="26384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75E4A37F-5E66-BF46-A5B4-E2FA0B5F29A6}"/>
                  </a:ext>
                </a:extLst>
              </p:cNvPr>
              <p:cNvSpPr/>
              <p:nvPr/>
            </p:nvSpPr>
            <p:spPr>
              <a:xfrm>
                <a:off x="1414559" y="5135078"/>
                <a:ext cx="40576" cy="23526"/>
              </a:xfrm>
              <a:custGeom>
                <a:avLst/>
                <a:gdLst>
                  <a:gd name="connsiteX0" fmla="*/ 40576 w 40576"/>
                  <a:gd name="connsiteY0" fmla="*/ 0 h 23526"/>
                  <a:gd name="connsiteX1" fmla="*/ 0 w 40576"/>
                  <a:gd name="connsiteY1" fmla="*/ 23527 h 235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0576" h="23526">
                    <a:moveTo>
                      <a:pt x="40576" y="0"/>
                    </a:moveTo>
                    <a:lnTo>
                      <a:pt x="0" y="23527"/>
                    </a:lnTo>
                  </a:path>
                </a:pathLst>
              </a:custGeom>
              <a:ln w="26384" cap="rnd">
                <a:solidFill>
                  <a:srgbClr val="FFFFF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grpSp>
        <p:nvGrpSpPr>
          <p:cNvPr id="63" name="Graphic 8">
            <a:extLst>
              <a:ext uri="{FF2B5EF4-FFF2-40B4-BE49-F238E27FC236}">
                <a16:creationId xmlns:a16="http://schemas.microsoft.com/office/drawing/2014/main" id="{4F4B2085-794F-F847-9BC3-42F6FE374EBB}"/>
              </a:ext>
            </a:extLst>
          </p:cNvPr>
          <p:cNvGrpSpPr>
            <a:grpSpLocks noChangeAspect="1"/>
          </p:cNvGrpSpPr>
          <p:nvPr/>
        </p:nvGrpSpPr>
        <p:grpSpPr>
          <a:xfrm>
            <a:off x="7631105" y="5421440"/>
            <a:ext cx="914400" cy="914400"/>
            <a:chOff x="4365455" y="4247540"/>
            <a:chExt cx="1714500" cy="1714500"/>
          </a:xfrm>
        </p:grpSpPr>
        <p:grpSp>
          <p:nvGrpSpPr>
            <p:cNvPr id="64" name="Graphic 8">
              <a:extLst>
                <a:ext uri="{FF2B5EF4-FFF2-40B4-BE49-F238E27FC236}">
                  <a16:creationId xmlns:a16="http://schemas.microsoft.com/office/drawing/2014/main" id="{146BB2BE-A983-604B-B6BA-4B9408E7BCEB}"/>
                </a:ext>
              </a:extLst>
            </p:cNvPr>
            <p:cNvGrpSpPr/>
            <p:nvPr/>
          </p:nvGrpSpPr>
          <p:grpSpPr>
            <a:xfrm>
              <a:off x="4576338" y="4457471"/>
              <a:ext cx="1278826" cy="1278826"/>
              <a:chOff x="4576338" y="4457471"/>
              <a:chExt cx="1278826" cy="1278826"/>
            </a:xfrm>
            <a:solidFill>
              <a:schemeClr val="accent1"/>
            </a:solidFill>
          </p:grpSpPr>
          <p:sp>
            <p:nvSpPr>
              <p:cNvPr id="71" name="Freeform 70">
                <a:extLst>
                  <a:ext uri="{FF2B5EF4-FFF2-40B4-BE49-F238E27FC236}">
                    <a16:creationId xmlns:a16="http://schemas.microsoft.com/office/drawing/2014/main" id="{85546ECA-3AAE-C447-882C-180971CB346C}"/>
                  </a:ext>
                </a:extLst>
              </p:cNvPr>
              <p:cNvSpPr/>
              <p:nvPr/>
            </p:nvSpPr>
            <p:spPr>
              <a:xfrm>
                <a:off x="4576338" y="4457471"/>
                <a:ext cx="1278826" cy="1278826"/>
              </a:xfrm>
              <a:custGeom>
                <a:avLst/>
                <a:gdLst>
                  <a:gd name="connsiteX0" fmla="*/ 639413 w 1278826"/>
                  <a:gd name="connsiteY0" fmla="*/ 1278827 h 1278826"/>
                  <a:gd name="connsiteX1" fmla="*/ 0 w 1278826"/>
                  <a:gd name="connsiteY1" fmla="*/ 639413 h 1278826"/>
                  <a:gd name="connsiteX2" fmla="*/ 639413 w 1278826"/>
                  <a:gd name="connsiteY2" fmla="*/ 0 h 1278826"/>
                  <a:gd name="connsiteX3" fmla="*/ 1278827 w 1278826"/>
                  <a:gd name="connsiteY3" fmla="*/ 639413 h 1278826"/>
                  <a:gd name="connsiteX4" fmla="*/ 639413 w 1278826"/>
                  <a:gd name="connsiteY4" fmla="*/ 1278827 h 1278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8826" h="1278826">
                    <a:moveTo>
                      <a:pt x="639413" y="1278827"/>
                    </a:moveTo>
                    <a:cubicBezTo>
                      <a:pt x="286275" y="1278827"/>
                      <a:pt x="0" y="992551"/>
                      <a:pt x="0" y="639413"/>
                    </a:cubicBezTo>
                    <a:cubicBezTo>
                      <a:pt x="0" y="286275"/>
                      <a:pt x="286275" y="0"/>
                      <a:pt x="639413" y="0"/>
                    </a:cubicBezTo>
                    <a:cubicBezTo>
                      <a:pt x="992551" y="0"/>
                      <a:pt x="1278827" y="286275"/>
                      <a:pt x="1278827" y="639413"/>
                    </a:cubicBezTo>
                    <a:cubicBezTo>
                      <a:pt x="1278407" y="992377"/>
                      <a:pt x="992377" y="1278407"/>
                      <a:pt x="639413" y="1278827"/>
                    </a:cubicBezTo>
                    <a:close/>
                  </a:path>
                </a:pathLst>
              </a:custGeom>
              <a:solidFill>
                <a:srgbClr val="524F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72" name="Graphic 8">
                <a:extLst>
                  <a:ext uri="{FF2B5EF4-FFF2-40B4-BE49-F238E27FC236}">
                    <a16:creationId xmlns:a16="http://schemas.microsoft.com/office/drawing/2014/main" id="{C8DA2D0B-3EA4-584B-9CB4-A23D0397A684}"/>
                  </a:ext>
                </a:extLst>
              </p:cNvPr>
              <p:cNvGrpSpPr/>
              <p:nvPr/>
            </p:nvGrpSpPr>
            <p:grpSpPr>
              <a:xfrm>
                <a:off x="4886472" y="4684451"/>
                <a:ext cx="637584" cy="849534"/>
                <a:chOff x="4886472" y="4684451"/>
                <a:chExt cx="637584" cy="849534"/>
              </a:xfrm>
              <a:solidFill>
                <a:srgbClr val="FFFFFF"/>
              </a:solidFill>
            </p:grpSpPr>
            <p:sp>
              <p:nvSpPr>
                <p:cNvPr id="73" name="Freeform 72">
                  <a:extLst>
                    <a:ext uri="{FF2B5EF4-FFF2-40B4-BE49-F238E27FC236}">
                      <a16:creationId xmlns:a16="http://schemas.microsoft.com/office/drawing/2014/main" id="{DB02D806-F38A-274E-BAC3-8BE067A04395}"/>
                    </a:ext>
                  </a:extLst>
                </p:cNvPr>
                <p:cNvSpPr/>
                <p:nvPr/>
              </p:nvSpPr>
              <p:spPr>
                <a:xfrm>
                  <a:off x="4887997" y="4684451"/>
                  <a:ext cx="636059" cy="753231"/>
                </a:xfrm>
                <a:custGeom>
                  <a:avLst/>
                  <a:gdLst>
                    <a:gd name="connsiteX0" fmla="*/ 634840 w 636059"/>
                    <a:gd name="connsiteY0" fmla="*/ 11525 h 753231"/>
                    <a:gd name="connsiteX1" fmla="*/ 635888 w 636059"/>
                    <a:gd name="connsiteY1" fmla="*/ 57912 h 753231"/>
                    <a:gd name="connsiteX2" fmla="*/ 575023 w 636059"/>
                    <a:gd name="connsiteY2" fmla="*/ 324612 h 753231"/>
                    <a:gd name="connsiteX3" fmla="*/ 489298 w 636059"/>
                    <a:gd name="connsiteY3" fmla="*/ 437388 h 753231"/>
                    <a:gd name="connsiteX4" fmla="*/ 426909 w 636059"/>
                    <a:gd name="connsiteY4" fmla="*/ 510159 h 753231"/>
                    <a:gd name="connsiteX5" fmla="*/ 421194 w 636059"/>
                    <a:gd name="connsiteY5" fmla="*/ 530924 h 753231"/>
                    <a:gd name="connsiteX6" fmla="*/ 436625 w 636059"/>
                    <a:gd name="connsiteY6" fmla="*/ 637794 h 753231"/>
                    <a:gd name="connsiteX7" fmla="*/ 429195 w 636059"/>
                    <a:gd name="connsiteY7" fmla="*/ 664369 h 753231"/>
                    <a:gd name="connsiteX8" fmla="*/ 359282 w 636059"/>
                    <a:gd name="connsiteY8" fmla="*/ 744569 h 753231"/>
                    <a:gd name="connsiteX9" fmla="*/ 327278 w 636059"/>
                    <a:gd name="connsiteY9" fmla="*/ 738664 h 753231"/>
                    <a:gd name="connsiteX10" fmla="*/ 294416 w 636059"/>
                    <a:gd name="connsiteY10" fmla="*/ 661416 h 753231"/>
                    <a:gd name="connsiteX11" fmla="*/ 217359 w 636059"/>
                    <a:gd name="connsiteY11" fmla="*/ 707898 h 753231"/>
                    <a:gd name="connsiteX12" fmla="*/ 186974 w 636059"/>
                    <a:gd name="connsiteY12" fmla="*/ 710184 h 753231"/>
                    <a:gd name="connsiteX13" fmla="*/ 89915 w 636059"/>
                    <a:gd name="connsiteY13" fmla="*/ 640080 h 753231"/>
                    <a:gd name="connsiteX14" fmla="*/ 84295 w 636059"/>
                    <a:gd name="connsiteY14" fmla="*/ 599218 h 753231"/>
                    <a:gd name="connsiteX15" fmla="*/ 100202 w 636059"/>
                    <a:gd name="connsiteY15" fmla="*/ 559594 h 753231"/>
                    <a:gd name="connsiteX16" fmla="*/ 104393 w 636059"/>
                    <a:gd name="connsiteY16" fmla="*/ 521494 h 753231"/>
                    <a:gd name="connsiteX17" fmla="*/ 21906 w 636059"/>
                    <a:gd name="connsiteY17" fmla="*/ 513112 h 753231"/>
                    <a:gd name="connsiteX18" fmla="*/ 5999 w 636059"/>
                    <a:gd name="connsiteY18" fmla="*/ 481584 h 753231"/>
                    <a:gd name="connsiteX19" fmla="*/ 56768 w 636059"/>
                    <a:gd name="connsiteY19" fmla="*/ 396716 h 753231"/>
                    <a:gd name="connsiteX20" fmla="*/ 85343 w 636059"/>
                    <a:gd name="connsiteY20" fmla="*/ 377666 h 753231"/>
                    <a:gd name="connsiteX21" fmla="*/ 187832 w 636059"/>
                    <a:gd name="connsiteY21" fmla="*/ 362426 h 753231"/>
                    <a:gd name="connsiteX22" fmla="*/ 209263 w 636059"/>
                    <a:gd name="connsiteY22" fmla="*/ 347758 h 753231"/>
                    <a:gd name="connsiteX23" fmla="*/ 312895 w 636059"/>
                    <a:gd name="connsiteY23" fmla="*/ 185833 h 753231"/>
                    <a:gd name="connsiteX24" fmla="*/ 524350 w 636059"/>
                    <a:gd name="connsiteY24" fmla="*/ 31909 h 753231"/>
                    <a:gd name="connsiteX25" fmla="*/ 614837 w 636059"/>
                    <a:gd name="connsiteY25" fmla="*/ 5620 h 753231"/>
                    <a:gd name="connsiteX26" fmla="*/ 620648 w 636059"/>
                    <a:gd name="connsiteY26" fmla="*/ 1810 h 753231"/>
                    <a:gd name="connsiteX27" fmla="*/ 632363 w 636059"/>
                    <a:gd name="connsiteY27" fmla="*/ 0 h 753231"/>
                    <a:gd name="connsiteX28" fmla="*/ 603693 w 636059"/>
                    <a:gd name="connsiteY28" fmla="*/ 40100 h 753231"/>
                    <a:gd name="connsiteX29" fmla="*/ 587786 w 636059"/>
                    <a:gd name="connsiteY29" fmla="*/ 44101 h 753231"/>
                    <a:gd name="connsiteX30" fmla="*/ 321086 w 636059"/>
                    <a:gd name="connsiteY30" fmla="*/ 230695 h 753231"/>
                    <a:gd name="connsiteX31" fmla="*/ 139540 w 636059"/>
                    <a:gd name="connsiteY31" fmla="*/ 529400 h 753231"/>
                    <a:gd name="connsiteX32" fmla="*/ 142302 w 636059"/>
                    <a:gd name="connsiteY32" fmla="*/ 551688 h 753231"/>
                    <a:gd name="connsiteX33" fmla="*/ 255650 w 636059"/>
                    <a:gd name="connsiteY33" fmla="*/ 634175 h 753231"/>
                    <a:gd name="connsiteX34" fmla="*/ 276129 w 636059"/>
                    <a:gd name="connsiteY34" fmla="*/ 628936 h 753231"/>
                    <a:gd name="connsiteX35" fmla="*/ 470724 w 636059"/>
                    <a:gd name="connsiteY35" fmla="*/ 409194 h 753231"/>
                    <a:gd name="connsiteX36" fmla="*/ 552449 w 636059"/>
                    <a:gd name="connsiteY36" fmla="*/ 299276 h 753231"/>
                    <a:gd name="connsiteX37" fmla="*/ 603693 w 636059"/>
                    <a:gd name="connsiteY37" fmla="*/ 40291 h 753231"/>
                    <a:gd name="connsiteX38" fmla="*/ 391000 w 636059"/>
                    <a:gd name="connsiteY38" fmla="*/ 550450 h 753231"/>
                    <a:gd name="connsiteX39" fmla="*/ 322420 w 636059"/>
                    <a:gd name="connsiteY39" fmla="*/ 625983 h 753231"/>
                    <a:gd name="connsiteX40" fmla="*/ 319658 w 636059"/>
                    <a:gd name="connsiteY40" fmla="*/ 636365 h 753231"/>
                    <a:gd name="connsiteX41" fmla="*/ 349090 w 636059"/>
                    <a:gd name="connsiteY41" fmla="*/ 707327 h 753231"/>
                    <a:gd name="connsiteX42" fmla="*/ 402144 w 636059"/>
                    <a:gd name="connsiteY42" fmla="*/ 647510 h 753231"/>
                    <a:gd name="connsiteX43" fmla="*/ 404335 w 636059"/>
                    <a:gd name="connsiteY43" fmla="*/ 637985 h 753231"/>
                    <a:gd name="connsiteX44" fmla="*/ 391000 w 636059"/>
                    <a:gd name="connsiteY44" fmla="*/ 550450 h 753231"/>
                    <a:gd name="connsiteX45" fmla="*/ 43147 w 636059"/>
                    <a:gd name="connsiteY45" fmla="*/ 482822 h 753231"/>
                    <a:gd name="connsiteX46" fmla="*/ 117632 w 636059"/>
                    <a:gd name="connsiteY46" fmla="*/ 489109 h 753231"/>
                    <a:gd name="connsiteX47" fmla="*/ 130396 w 636059"/>
                    <a:gd name="connsiteY47" fmla="*/ 480441 h 753231"/>
                    <a:gd name="connsiteX48" fmla="*/ 168496 w 636059"/>
                    <a:gd name="connsiteY48" fmla="*/ 415862 h 753231"/>
                    <a:gd name="connsiteX49" fmla="*/ 179640 w 636059"/>
                    <a:gd name="connsiteY49" fmla="*/ 395764 h 753231"/>
                    <a:gd name="connsiteX50" fmla="*/ 94772 w 636059"/>
                    <a:gd name="connsiteY50" fmla="*/ 409004 h 753231"/>
                    <a:gd name="connsiteX51" fmla="*/ 83914 w 636059"/>
                    <a:gd name="connsiteY51" fmla="*/ 414909 h 753231"/>
                    <a:gd name="connsiteX52" fmla="*/ 43147 w 636059"/>
                    <a:gd name="connsiteY52" fmla="*/ 482822 h 753231"/>
                    <a:gd name="connsiteX53" fmla="*/ 225265 w 636059"/>
                    <a:gd name="connsiteY53" fmla="*/ 660654 h 753231"/>
                    <a:gd name="connsiteX54" fmla="*/ 125157 w 636059"/>
                    <a:gd name="connsiteY54" fmla="*/ 586550 h 753231"/>
                    <a:gd name="connsiteX55" fmla="*/ 118299 w 636059"/>
                    <a:gd name="connsiteY55" fmla="*/ 602075 h 753231"/>
                    <a:gd name="connsiteX56" fmla="*/ 121915 w 636059"/>
                    <a:gd name="connsiteY56" fmla="*/ 627957 h 753231"/>
                    <a:gd name="connsiteX57" fmla="*/ 123347 w 636059"/>
                    <a:gd name="connsiteY57" fmla="*/ 628936 h 753231"/>
                    <a:gd name="connsiteX58" fmla="*/ 168496 w 636059"/>
                    <a:gd name="connsiteY58" fmla="*/ 664083 h 753231"/>
                    <a:gd name="connsiteX59" fmla="*/ 225265 w 636059"/>
                    <a:gd name="connsiteY59" fmla="*/ 660654 h 753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636059" h="753231">
                      <a:moveTo>
                        <a:pt x="634840" y="11525"/>
                      </a:moveTo>
                      <a:cubicBezTo>
                        <a:pt x="634840" y="27051"/>
                        <a:pt x="635602" y="42482"/>
                        <a:pt x="635888" y="57912"/>
                      </a:cubicBezTo>
                      <a:cubicBezTo>
                        <a:pt x="637697" y="151924"/>
                        <a:pt x="625696" y="243364"/>
                        <a:pt x="575023" y="324612"/>
                      </a:cubicBezTo>
                      <a:cubicBezTo>
                        <a:pt x="548604" y="363795"/>
                        <a:pt x="519983" y="401448"/>
                        <a:pt x="489298" y="437388"/>
                      </a:cubicBezTo>
                      <a:cubicBezTo>
                        <a:pt x="469391" y="462344"/>
                        <a:pt x="447102" y="485013"/>
                        <a:pt x="426909" y="510159"/>
                      </a:cubicBezTo>
                      <a:cubicBezTo>
                        <a:pt x="422483" y="516127"/>
                        <a:pt x="420445" y="523532"/>
                        <a:pt x="421194" y="530924"/>
                      </a:cubicBezTo>
                      <a:cubicBezTo>
                        <a:pt x="425861" y="566642"/>
                        <a:pt x="432434" y="602075"/>
                        <a:pt x="436625" y="637794"/>
                      </a:cubicBezTo>
                      <a:cubicBezTo>
                        <a:pt x="437491" y="647264"/>
                        <a:pt x="434847" y="656722"/>
                        <a:pt x="429195" y="664369"/>
                      </a:cubicBezTo>
                      <a:cubicBezTo>
                        <a:pt x="406811" y="691896"/>
                        <a:pt x="382999" y="718185"/>
                        <a:pt x="359282" y="744569"/>
                      </a:cubicBezTo>
                      <a:cubicBezTo>
                        <a:pt x="347090" y="758095"/>
                        <a:pt x="334517" y="755523"/>
                        <a:pt x="327278" y="738664"/>
                      </a:cubicBezTo>
                      <a:cubicBezTo>
                        <a:pt x="315943" y="712565"/>
                        <a:pt x="304989" y="686276"/>
                        <a:pt x="294416" y="661416"/>
                      </a:cubicBezTo>
                      <a:cubicBezTo>
                        <a:pt x="262031" y="667417"/>
                        <a:pt x="242124" y="691420"/>
                        <a:pt x="217359" y="707898"/>
                      </a:cubicBezTo>
                      <a:cubicBezTo>
                        <a:pt x="207990" y="712853"/>
                        <a:pt x="196980" y="713682"/>
                        <a:pt x="186974" y="710184"/>
                      </a:cubicBezTo>
                      <a:cubicBezTo>
                        <a:pt x="149331" y="695186"/>
                        <a:pt x="115985" y="671101"/>
                        <a:pt x="89915" y="640080"/>
                      </a:cubicBezTo>
                      <a:cubicBezTo>
                        <a:pt x="79143" y="629234"/>
                        <a:pt x="76851" y="612569"/>
                        <a:pt x="84295" y="599218"/>
                      </a:cubicBezTo>
                      <a:cubicBezTo>
                        <a:pt x="90841" y="586544"/>
                        <a:pt x="96167" y="573276"/>
                        <a:pt x="100202" y="559594"/>
                      </a:cubicBezTo>
                      <a:cubicBezTo>
                        <a:pt x="102585" y="547022"/>
                        <a:pt x="103986" y="534283"/>
                        <a:pt x="104393" y="521494"/>
                      </a:cubicBezTo>
                      <a:lnTo>
                        <a:pt x="21906" y="513112"/>
                      </a:lnTo>
                      <a:cubicBezTo>
                        <a:pt x="-382" y="510921"/>
                        <a:pt x="-5621" y="500920"/>
                        <a:pt x="5999" y="481584"/>
                      </a:cubicBezTo>
                      <a:cubicBezTo>
                        <a:pt x="22954" y="453009"/>
                        <a:pt x="40289" y="425196"/>
                        <a:pt x="56768" y="396716"/>
                      </a:cubicBezTo>
                      <a:cubicBezTo>
                        <a:pt x="62442" y="385928"/>
                        <a:pt x="73202" y="378755"/>
                        <a:pt x="85343" y="377666"/>
                      </a:cubicBezTo>
                      <a:cubicBezTo>
                        <a:pt x="119537" y="373190"/>
                        <a:pt x="153542" y="366903"/>
                        <a:pt x="187832" y="362426"/>
                      </a:cubicBezTo>
                      <a:cubicBezTo>
                        <a:pt x="196996" y="361476"/>
                        <a:pt x="205060" y="355957"/>
                        <a:pt x="209263" y="347758"/>
                      </a:cubicBezTo>
                      <a:cubicBezTo>
                        <a:pt x="243362" y="293656"/>
                        <a:pt x="276700" y="238982"/>
                        <a:pt x="312895" y="185833"/>
                      </a:cubicBezTo>
                      <a:cubicBezTo>
                        <a:pt x="364997" y="109633"/>
                        <a:pt x="439482" y="63056"/>
                        <a:pt x="524350" y="31909"/>
                      </a:cubicBezTo>
                      <a:cubicBezTo>
                        <a:pt x="553782" y="21146"/>
                        <a:pt x="584643" y="14383"/>
                        <a:pt x="614837" y="5620"/>
                      </a:cubicBezTo>
                      <a:cubicBezTo>
                        <a:pt x="616946" y="4634"/>
                        <a:pt x="618903" y="3351"/>
                        <a:pt x="620648" y="1810"/>
                      </a:cubicBezTo>
                      <a:lnTo>
                        <a:pt x="632363" y="0"/>
                      </a:lnTo>
                      <a:close/>
                      <a:moveTo>
                        <a:pt x="603693" y="40100"/>
                      </a:moveTo>
                      <a:cubicBezTo>
                        <a:pt x="597121" y="41720"/>
                        <a:pt x="592358" y="42767"/>
                        <a:pt x="587786" y="44101"/>
                      </a:cubicBezTo>
                      <a:cubicBezTo>
                        <a:pt x="477677" y="75819"/>
                        <a:pt x="382808" y="129350"/>
                        <a:pt x="321086" y="230695"/>
                      </a:cubicBezTo>
                      <a:cubicBezTo>
                        <a:pt x="260888" y="330454"/>
                        <a:pt x="200373" y="430022"/>
                        <a:pt x="139540" y="529400"/>
                      </a:cubicBezTo>
                      <a:cubicBezTo>
                        <a:pt x="134702" y="536461"/>
                        <a:pt x="135887" y="546021"/>
                        <a:pt x="142302" y="551688"/>
                      </a:cubicBezTo>
                      <a:cubicBezTo>
                        <a:pt x="172616" y="588204"/>
                        <a:pt x="211581" y="616560"/>
                        <a:pt x="255650" y="634175"/>
                      </a:cubicBezTo>
                      <a:cubicBezTo>
                        <a:pt x="262822" y="637827"/>
                        <a:pt x="271591" y="635584"/>
                        <a:pt x="276129" y="628936"/>
                      </a:cubicBezTo>
                      <a:cubicBezTo>
                        <a:pt x="340994" y="555593"/>
                        <a:pt x="407002" y="483394"/>
                        <a:pt x="470724" y="409194"/>
                      </a:cubicBezTo>
                      <a:cubicBezTo>
                        <a:pt x="501154" y="375036"/>
                        <a:pt x="528502" y="338253"/>
                        <a:pt x="552449" y="299276"/>
                      </a:cubicBezTo>
                      <a:cubicBezTo>
                        <a:pt x="598740" y="220313"/>
                        <a:pt x="606836" y="132207"/>
                        <a:pt x="603693" y="40291"/>
                      </a:cubicBezTo>
                      <a:close/>
                      <a:moveTo>
                        <a:pt x="391000" y="550450"/>
                      </a:moveTo>
                      <a:cubicBezTo>
                        <a:pt x="366425" y="577406"/>
                        <a:pt x="344232" y="601504"/>
                        <a:pt x="322420" y="625983"/>
                      </a:cubicBezTo>
                      <a:cubicBezTo>
                        <a:pt x="319968" y="628843"/>
                        <a:pt x="318951" y="632665"/>
                        <a:pt x="319658" y="636365"/>
                      </a:cubicBezTo>
                      <a:cubicBezTo>
                        <a:pt x="329183" y="659511"/>
                        <a:pt x="338708" y="682276"/>
                        <a:pt x="349090" y="707327"/>
                      </a:cubicBezTo>
                      <a:cubicBezTo>
                        <a:pt x="368140" y="686276"/>
                        <a:pt x="385190" y="667036"/>
                        <a:pt x="402144" y="647510"/>
                      </a:cubicBezTo>
                      <a:cubicBezTo>
                        <a:pt x="404028" y="644715"/>
                        <a:pt x="404808" y="641321"/>
                        <a:pt x="404335" y="637985"/>
                      </a:cubicBezTo>
                      <a:cubicBezTo>
                        <a:pt x="400239" y="609981"/>
                        <a:pt x="395858" y="582263"/>
                        <a:pt x="391000" y="550450"/>
                      </a:cubicBezTo>
                      <a:close/>
                      <a:moveTo>
                        <a:pt x="43147" y="482822"/>
                      </a:moveTo>
                      <a:cubicBezTo>
                        <a:pt x="69912" y="485299"/>
                        <a:pt x="93725" y="487870"/>
                        <a:pt x="117632" y="489109"/>
                      </a:cubicBezTo>
                      <a:cubicBezTo>
                        <a:pt x="122919" y="488149"/>
                        <a:pt x="127554" y="485001"/>
                        <a:pt x="130396" y="480441"/>
                      </a:cubicBezTo>
                      <a:cubicBezTo>
                        <a:pt x="143636" y="459200"/>
                        <a:pt x="155923" y="437483"/>
                        <a:pt x="168496" y="415862"/>
                      </a:cubicBezTo>
                      <a:cubicBezTo>
                        <a:pt x="171925" y="409956"/>
                        <a:pt x="175259" y="403765"/>
                        <a:pt x="179640" y="395764"/>
                      </a:cubicBezTo>
                      <a:cubicBezTo>
                        <a:pt x="149160" y="400526"/>
                        <a:pt x="121919" y="404527"/>
                        <a:pt x="94772" y="409004"/>
                      </a:cubicBezTo>
                      <a:cubicBezTo>
                        <a:pt x="90547" y="409562"/>
                        <a:pt x="86679" y="411666"/>
                        <a:pt x="83914" y="414909"/>
                      </a:cubicBezTo>
                      <a:cubicBezTo>
                        <a:pt x="70388" y="436436"/>
                        <a:pt x="57625" y="458438"/>
                        <a:pt x="43147" y="482822"/>
                      </a:cubicBezTo>
                      <a:close/>
                      <a:moveTo>
                        <a:pt x="225265" y="660654"/>
                      </a:moveTo>
                      <a:lnTo>
                        <a:pt x="125157" y="586550"/>
                      </a:lnTo>
                      <a:cubicBezTo>
                        <a:pt x="123347" y="590550"/>
                        <a:pt x="121347" y="596646"/>
                        <a:pt x="118299" y="602075"/>
                      </a:cubicBezTo>
                      <a:cubicBezTo>
                        <a:pt x="112151" y="610221"/>
                        <a:pt x="113770" y="621808"/>
                        <a:pt x="121915" y="627957"/>
                      </a:cubicBezTo>
                      <a:cubicBezTo>
                        <a:pt x="122377" y="628305"/>
                        <a:pt x="122855" y="628632"/>
                        <a:pt x="123347" y="628936"/>
                      </a:cubicBezTo>
                      <a:cubicBezTo>
                        <a:pt x="137731" y="641483"/>
                        <a:pt x="152804" y="653217"/>
                        <a:pt x="168496" y="664083"/>
                      </a:cubicBezTo>
                      <a:cubicBezTo>
                        <a:pt x="206691" y="687705"/>
                        <a:pt x="195642" y="685229"/>
                        <a:pt x="225265" y="66065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4" name="Freeform 73">
                  <a:extLst>
                    <a:ext uri="{FF2B5EF4-FFF2-40B4-BE49-F238E27FC236}">
                      <a16:creationId xmlns:a16="http://schemas.microsoft.com/office/drawing/2014/main" id="{05E6FDCB-1C96-5446-A2DF-D807A5FA018D}"/>
                    </a:ext>
                  </a:extLst>
                </p:cNvPr>
                <p:cNvSpPr/>
                <p:nvPr/>
              </p:nvSpPr>
              <p:spPr>
                <a:xfrm>
                  <a:off x="4886472" y="5342819"/>
                  <a:ext cx="172878" cy="191166"/>
                </a:xfrm>
                <a:custGeom>
                  <a:avLst/>
                  <a:gdLst>
                    <a:gd name="connsiteX0" fmla="*/ 0 w 172878"/>
                    <a:gd name="connsiteY0" fmla="*/ 124587 h 191166"/>
                    <a:gd name="connsiteX1" fmla="*/ 3620 w 172878"/>
                    <a:gd name="connsiteY1" fmla="*/ 88964 h 191166"/>
                    <a:gd name="connsiteX2" fmla="*/ 34100 w 172878"/>
                    <a:gd name="connsiteY2" fmla="*/ 35433 h 191166"/>
                    <a:gd name="connsiteX3" fmla="*/ 80200 w 172878"/>
                    <a:gd name="connsiteY3" fmla="*/ 0 h 191166"/>
                    <a:gd name="connsiteX4" fmla="*/ 102489 w 172878"/>
                    <a:gd name="connsiteY4" fmla="*/ 22670 h 191166"/>
                    <a:gd name="connsiteX5" fmla="*/ 59341 w 172878"/>
                    <a:gd name="connsiteY5" fmla="*/ 56293 h 191166"/>
                    <a:gd name="connsiteX6" fmla="*/ 34576 w 172878"/>
                    <a:gd name="connsiteY6" fmla="*/ 100679 h 191166"/>
                    <a:gd name="connsiteX7" fmla="*/ 35433 w 172878"/>
                    <a:gd name="connsiteY7" fmla="*/ 154781 h 191166"/>
                    <a:gd name="connsiteX8" fmla="*/ 104489 w 172878"/>
                    <a:gd name="connsiteY8" fmla="*/ 132398 h 191166"/>
                    <a:gd name="connsiteX9" fmla="*/ 125825 w 172878"/>
                    <a:gd name="connsiteY9" fmla="*/ 103823 h 191166"/>
                    <a:gd name="connsiteX10" fmla="*/ 143732 w 172878"/>
                    <a:gd name="connsiteY10" fmla="*/ 53912 h 191166"/>
                    <a:gd name="connsiteX11" fmla="*/ 172879 w 172878"/>
                    <a:gd name="connsiteY11" fmla="*/ 66770 h 191166"/>
                    <a:gd name="connsiteX12" fmla="*/ 156115 w 172878"/>
                    <a:gd name="connsiteY12" fmla="*/ 116300 h 191166"/>
                    <a:gd name="connsiteX13" fmla="*/ 95726 w 172878"/>
                    <a:gd name="connsiteY13" fmla="*/ 172688 h 191166"/>
                    <a:gd name="connsiteX14" fmla="*/ 74676 w 172878"/>
                    <a:gd name="connsiteY14" fmla="*/ 181642 h 191166"/>
                    <a:gd name="connsiteX15" fmla="*/ 10287 w 172878"/>
                    <a:gd name="connsiteY15" fmla="*/ 191167 h 1911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72878" h="191166">
                      <a:moveTo>
                        <a:pt x="0" y="124587"/>
                      </a:moveTo>
                      <a:cubicBezTo>
                        <a:pt x="1143" y="112681"/>
                        <a:pt x="2000" y="100775"/>
                        <a:pt x="3620" y="88964"/>
                      </a:cubicBezTo>
                      <a:cubicBezTo>
                        <a:pt x="5793" y="67626"/>
                        <a:pt x="16859" y="48192"/>
                        <a:pt x="34100" y="35433"/>
                      </a:cubicBezTo>
                      <a:cubicBezTo>
                        <a:pt x="49435" y="24098"/>
                        <a:pt x="64389" y="12287"/>
                        <a:pt x="80200" y="0"/>
                      </a:cubicBezTo>
                      <a:lnTo>
                        <a:pt x="102489" y="22670"/>
                      </a:lnTo>
                      <a:cubicBezTo>
                        <a:pt x="87820" y="34195"/>
                        <a:pt x="73914" y="46006"/>
                        <a:pt x="59341" y="56293"/>
                      </a:cubicBezTo>
                      <a:cubicBezTo>
                        <a:pt x="44008" y="65850"/>
                        <a:pt x="34656" y="82611"/>
                        <a:pt x="34576" y="100679"/>
                      </a:cubicBezTo>
                      <a:cubicBezTo>
                        <a:pt x="34576" y="118301"/>
                        <a:pt x="35147" y="135827"/>
                        <a:pt x="35433" y="154781"/>
                      </a:cubicBezTo>
                      <a:cubicBezTo>
                        <a:pt x="60033" y="153593"/>
                        <a:pt x="83870" y="145866"/>
                        <a:pt x="104489" y="132398"/>
                      </a:cubicBezTo>
                      <a:cubicBezTo>
                        <a:pt x="113810" y="124741"/>
                        <a:pt x="121132" y="114935"/>
                        <a:pt x="125825" y="103823"/>
                      </a:cubicBezTo>
                      <a:cubicBezTo>
                        <a:pt x="133064" y="88392"/>
                        <a:pt x="137541" y="71628"/>
                        <a:pt x="143732" y="53912"/>
                      </a:cubicBezTo>
                      <a:lnTo>
                        <a:pt x="172879" y="66770"/>
                      </a:lnTo>
                      <a:cubicBezTo>
                        <a:pt x="167068" y="84106"/>
                        <a:pt x="161735" y="100298"/>
                        <a:pt x="156115" y="116300"/>
                      </a:cubicBezTo>
                      <a:cubicBezTo>
                        <a:pt x="145828" y="145542"/>
                        <a:pt x="123825" y="162306"/>
                        <a:pt x="95726" y="172688"/>
                      </a:cubicBezTo>
                      <a:cubicBezTo>
                        <a:pt x="88582" y="175260"/>
                        <a:pt x="81724" y="178594"/>
                        <a:pt x="74676" y="181642"/>
                      </a:cubicBezTo>
                      <a:lnTo>
                        <a:pt x="10287" y="1911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5" name="Freeform 74">
                  <a:extLst>
                    <a:ext uri="{FF2B5EF4-FFF2-40B4-BE49-F238E27FC236}">
                      <a16:creationId xmlns:a16="http://schemas.microsoft.com/office/drawing/2014/main" id="{45C4234E-3A0F-814F-A2A8-4185B4399D18}"/>
                    </a:ext>
                  </a:extLst>
                </p:cNvPr>
                <p:cNvSpPr/>
                <p:nvPr/>
              </p:nvSpPr>
              <p:spPr>
                <a:xfrm>
                  <a:off x="5252117" y="4870617"/>
                  <a:ext cx="152529" cy="152340"/>
                </a:xfrm>
                <a:custGeom>
                  <a:avLst/>
                  <a:gdLst>
                    <a:gd name="connsiteX0" fmla="*/ 973 w 152529"/>
                    <a:gd name="connsiteY0" fmla="*/ 87488 h 152340"/>
                    <a:gd name="connsiteX1" fmla="*/ 63532 w 152529"/>
                    <a:gd name="connsiteY1" fmla="*/ 903 h 152340"/>
                    <a:gd name="connsiteX2" fmla="*/ 64123 w 152529"/>
                    <a:gd name="connsiteY2" fmla="*/ 810 h 152340"/>
                    <a:gd name="connsiteX3" fmla="*/ 151753 w 152529"/>
                    <a:gd name="connsiteY3" fmla="*/ 65580 h 152340"/>
                    <a:gd name="connsiteX4" fmla="*/ 87722 w 152529"/>
                    <a:gd name="connsiteY4" fmla="*/ 151082 h 152340"/>
                    <a:gd name="connsiteX5" fmla="*/ 86031 w 152529"/>
                    <a:gd name="connsiteY5" fmla="*/ 151305 h 152340"/>
                    <a:gd name="connsiteX6" fmla="*/ 1502 w 152529"/>
                    <a:gd name="connsiteY6" fmla="*/ 91197 h 152340"/>
                    <a:gd name="connsiteX7" fmla="*/ 973 w 152529"/>
                    <a:gd name="connsiteY7" fmla="*/ 87488 h 152340"/>
                    <a:gd name="connsiteX8" fmla="*/ 119464 w 152529"/>
                    <a:gd name="connsiteY8" fmla="*/ 69486 h 152340"/>
                    <a:gd name="connsiteX9" fmla="*/ 69430 w 152529"/>
                    <a:gd name="connsiteY9" fmla="*/ 32933 h 152340"/>
                    <a:gd name="connsiteX10" fmla="*/ 68981 w 152529"/>
                    <a:gd name="connsiteY10" fmla="*/ 33005 h 152340"/>
                    <a:gd name="connsiteX11" fmla="*/ 31738 w 152529"/>
                    <a:gd name="connsiteY11" fmla="*/ 83202 h 152340"/>
                    <a:gd name="connsiteX12" fmla="*/ 81935 w 152529"/>
                    <a:gd name="connsiteY12" fmla="*/ 120825 h 152340"/>
                    <a:gd name="connsiteX13" fmla="*/ 119584 w 152529"/>
                    <a:gd name="connsiteY13" fmla="*/ 70261 h 152340"/>
                    <a:gd name="connsiteX14" fmla="*/ 119464 w 152529"/>
                    <a:gd name="connsiteY14" fmla="*/ 69486 h 1523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52529" h="152340">
                      <a:moveTo>
                        <a:pt x="973" y="87488"/>
                      </a:moveTo>
                      <a:cubicBezTo>
                        <a:pt x="-5662" y="46303"/>
                        <a:pt x="22347" y="7538"/>
                        <a:pt x="63532" y="903"/>
                      </a:cubicBezTo>
                      <a:cubicBezTo>
                        <a:pt x="63729" y="872"/>
                        <a:pt x="63926" y="841"/>
                        <a:pt x="64123" y="810"/>
                      </a:cubicBezTo>
                      <a:cubicBezTo>
                        <a:pt x="106152" y="-5281"/>
                        <a:pt x="145245" y="23614"/>
                        <a:pt x="151753" y="65580"/>
                      </a:cubicBezTo>
                      <a:cubicBezTo>
                        <a:pt x="157682" y="106873"/>
                        <a:pt x="129014" y="145153"/>
                        <a:pt x="87722" y="151082"/>
                      </a:cubicBezTo>
                      <a:cubicBezTo>
                        <a:pt x="87159" y="151163"/>
                        <a:pt x="86595" y="151237"/>
                        <a:pt x="86031" y="151305"/>
                      </a:cubicBezTo>
                      <a:cubicBezTo>
                        <a:pt x="46090" y="158049"/>
                        <a:pt x="8245" y="131137"/>
                        <a:pt x="1502" y="91197"/>
                      </a:cubicBezTo>
                      <a:cubicBezTo>
                        <a:pt x="1294" y="89965"/>
                        <a:pt x="1117" y="88728"/>
                        <a:pt x="973" y="87488"/>
                      </a:cubicBezTo>
                      <a:close/>
                      <a:moveTo>
                        <a:pt x="119464" y="69486"/>
                      </a:moveTo>
                      <a:cubicBezTo>
                        <a:pt x="115741" y="45575"/>
                        <a:pt x="93340" y="29210"/>
                        <a:pt x="69430" y="32933"/>
                      </a:cubicBezTo>
                      <a:cubicBezTo>
                        <a:pt x="69280" y="32956"/>
                        <a:pt x="69131" y="32980"/>
                        <a:pt x="68981" y="33005"/>
                      </a:cubicBezTo>
                      <a:cubicBezTo>
                        <a:pt x="45008" y="36867"/>
                        <a:pt x="28484" y="59138"/>
                        <a:pt x="31738" y="83202"/>
                      </a:cubicBezTo>
                      <a:cubicBezTo>
                        <a:pt x="36043" y="106949"/>
                        <a:pt x="57934" y="123356"/>
                        <a:pt x="81935" y="120825"/>
                      </a:cubicBezTo>
                      <a:cubicBezTo>
                        <a:pt x="106294" y="117259"/>
                        <a:pt x="123151" y="94620"/>
                        <a:pt x="119584" y="70261"/>
                      </a:cubicBezTo>
                      <a:cubicBezTo>
                        <a:pt x="119546" y="70002"/>
                        <a:pt x="119506" y="69744"/>
                        <a:pt x="119464" y="6948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65" name="Graphic 8">
              <a:extLst>
                <a:ext uri="{FF2B5EF4-FFF2-40B4-BE49-F238E27FC236}">
                  <a16:creationId xmlns:a16="http://schemas.microsoft.com/office/drawing/2014/main" id="{C9C33E70-FD4F-944A-81F9-58E5F3BC531A}"/>
                </a:ext>
              </a:extLst>
            </p:cNvPr>
            <p:cNvGrpSpPr/>
            <p:nvPr/>
          </p:nvGrpSpPr>
          <p:grpSpPr>
            <a:xfrm>
              <a:off x="4576338" y="4457471"/>
              <a:ext cx="1278826" cy="1278826"/>
              <a:chOff x="4576338" y="4457471"/>
              <a:chExt cx="1278826" cy="1278826"/>
            </a:xfrm>
            <a:solidFill>
              <a:schemeClr val="accent1"/>
            </a:solidFill>
          </p:grpSpPr>
          <p:sp>
            <p:nvSpPr>
              <p:cNvPr id="66" name="Freeform 65">
                <a:extLst>
                  <a:ext uri="{FF2B5EF4-FFF2-40B4-BE49-F238E27FC236}">
                    <a16:creationId xmlns:a16="http://schemas.microsoft.com/office/drawing/2014/main" id="{172B119E-3873-1144-A1C7-B825829D1FCB}"/>
                  </a:ext>
                </a:extLst>
              </p:cNvPr>
              <p:cNvSpPr/>
              <p:nvPr/>
            </p:nvSpPr>
            <p:spPr>
              <a:xfrm>
                <a:off x="4576338" y="4457471"/>
                <a:ext cx="1278826" cy="1278826"/>
              </a:xfrm>
              <a:custGeom>
                <a:avLst/>
                <a:gdLst>
                  <a:gd name="connsiteX0" fmla="*/ 639413 w 1278826"/>
                  <a:gd name="connsiteY0" fmla="*/ 1278827 h 1278826"/>
                  <a:gd name="connsiteX1" fmla="*/ 0 w 1278826"/>
                  <a:gd name="connsiteY1" fmla="*/ 639413 h 1278826"/>
                  <a:gd name="connsiteX2" fmla="*/ 639413 w 1278826"/>
                  <a:gd name="connsiteY2" fmla="*/ 0 h 1278826"/>
                  <a:gd name="connsiteX3" fmla="*/ 1278827 w 1278826"/>
                  <a:gd name="connsiteY3" fmla="*/ 639413 h 1278826"/>
                  <a:gd name="connsiteX4" fmla="*/ 639413 w 1278826"/>
                  <a:gd name="connsiteY4" fmla="*/ 1278827 h 1278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8826" h="1278826">
                    <a:moveTo>
                      <a:pt x="639413" y="1278827"/>
                    </a:moveTo>
                    <a:cubicBezTo>
                      <a:pt x="286275" y="1278827"/>
                      <a:pt x="0" y="992551"/>
                      <a:pt x="0" y="639413"/>
                    </a:cubicBezTo>
                    <a:cubicBezTo>
                      <a:pt x="0" y="286275"/>
                      <a:pt x="286275" y="0"/>
                      <a:pt x="639413" y="0"/>
                    </a:cubicBezTo>
                    <a:cubicBezTo>
                      <a:pt x="992551" y="0"/>
                      <a:pt x="1278827" y="286275"/>
                      <a:pt x="1278827" y="639413"/>
                    </a:cubicBezTo>
                    <a:cubicBezTo>
                      <a:pt x="1278407" y="992377"/>
                      <a:pt x="992377" y="1278407"/>
                      <a:pt x="639413" y="127882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67" name="Graphic 8">
                <a:extLst>
                  <a:ext uri="{FF2B5EF4-FFF2-40B4-BE49-F238E27FC236}">
                    <a16:creationId xmlns:a16="http://schemas.microsoft.com/office/drawing/2014/main" id="{CB2503B1-59DF-BD46-ADAB-BFECD697CE2D}"/>
                  </a:ext>
                </a:extLst>
              </p:cNvPr>
              <p:cNvGrpSpPr/>
              <p:nvPr/>
            </p:nvGrpSpPr>
            <p:grpSpPr>
              <a:xfrm>
                <a:off x="4886472" y="4684451"/>
                <a:ext cx="637584" cy="849534"/>
                <a:chOff x="4886472" y="4684451"/>
                <a:chExt cx="637584" cy="849534"/>
              </a:xfrm>
              <a:solidFill>
                <a:srgbClr val="FFFFFF"/>
              </a:solidFill>
            </p:grpSpPr>
            <p:sp>
              <p:nvSpPr>
                <p:cNvPr id="68" name="Freeform 67">
                  <a:extLst>
                    <a:ext uri="{FF2B5EF4-FFF2-40B4-BE49-F238E27FC236}">
                      <a16:creationId xmlns:a16="http://schemas.microsoft.com/office/drawing/2014/main" id="{995CC063-455D-FB4D-8E97-FB7D2F75F374}"/>
                    </a:ext>
                  </a:extLst>
                </p:cNvPr>
                <p:cNvSpPr/>
                <p:nvPr/>
              </p:nvSpPr>
              <p:spPr>
                <a:xfrm>
                  <a:off x="4887997" y="4684451"/>
                  <a:ext cx="636059" cy="753231"/>
                </a:xfrm>
                <a:custGeom>
                  <a:avLst/>
                  <a:gdLst>
                    <a:gd name="connsiteX0" fmla="*/ 634840 w 636059"/>
                    <a:gd name="connsiteY0" fmla="*/ 11525 h 753231"/>
                    <a:gd name="connsiteX1" fmla="*/ 635888 w 636059"/>
                    <a:gd name="connsiteY1" fmla="*/ 57912 h 753231"/>
                    <a:gd name="connsiteX2" fmla="*/ 575023 w 636059"/>
                    <a:gd name="connsiteY2" fmla="*/ 324612 h 753231"/>
                    <a:gd name="connsiteX3" fmla="*/ 489298 w 636059"/>
                    <a:gd name="connsiteY3" fmla="*/ 437388 h 753231"/>
                    <a:gd name="connsiteX4" fmla="*/ 426909 w 636059"/>
                    <a:gd name="connsiteY4" fmla="*/ 510159 h 753231"/>
                    <a:gd name="connsiteX5" fmla="*/ 421194 w 636059"/>
                    <a:gd name="connsiteY5" fmla="*/ 530924 h 753231"/>
                    <a:gd name="connsiteX6" fmla="*/ 436625 w 636059"/>
                    <a:gd name="connsiteY6" fmla="*/ 637794 h 753231"/>
                    <a:gd name="connsiteX7" fmla="*/ 429195 w 636059"/>
                    <a:gd name="connsiteY7" fmla="*/ 664369 h 753231"/>
                    <a:gd name="connsiteX8" fmla="*/ 359282 w 636059"/>
                    <a:gd name="connsiteY8" fmla="*/ 744569 h 753231"/>
                    <a:gd name="connsiteX9" fmla="*/ 327278 w 636059"/>
                    <a:gd name="connsiteY9" fmla="*/ 738664 h 753231"/>
                    <a:gd name="connsiteX10" fmla="*/ 294416 w 636059"/>
                    <a:gd name="connsiteY10" fmla="*/ 661416 h 753231"/>
                    <a:gd name="connsiteX11" fmla="*/ 217359 w 636059"/>
                    <a:gd name="connsiteY11" fmla="*/ 707898 h 753231"/>
                    <a:gd name="connsiteX12" fmla="*/ 186974 w 636059"/>
                    <a:gd name="connsiteY12" fmla="*/ 710184 h 753231"/>
                    <a:gd name="connsiteX13" fmla="*/ 89915 w 636059"/>
                    <a:gd name="connsiteY13" fmla="*/ 640080 h 753231"/>
                    <a:gd name="connsiteX14" fmla="*/ 84295 w 636059"/>
                    <a:gd name="connsiteY14" fmla="*/ 599218 h 753231"/>
                    <a:gd name="connsiteX15" fmla="*/ 100202 w 636059"/>
                    <a:gd name="connsiteY15" fmla="*/ 559594 h 753231"/>
                    <a:gd name="connsiteX16" fmla="*/ 104393 w 636059"/>
                    <a:gd name="connsiteY16" fmla="*/ 521494 h 753231"/>
                    <a:gd name="connsiteX17" fmla="*/ 21906 w 636059"/>
                    <a:gd name="connsiteY17" fmla="*/ 513112 h 753231"/>
                    <a:gd name="connsiteX18" fmla="*/ 5999 w 636059"/>
                    <a:gd name="connsiteY18" fmla="*/ 481584 h 753231"/>
                    <a:gd name="connsiteX19" fmla="*/ 56768 w 636059"/>
                    <a:gd name="connsiteY19" fmla="*/ 396716 h 753231"/>
                    <a:gd name="connsiteX20" fmla="*/ 85343 w 636059"/>
                    <a:gd name="connsiteY20" fmla="*/ 377666 h 753231"/>
                    <a:gd name="connsiteX21" fmla="*/ 187832 w 636059"/>
                    <a:gd name="connsiteY21" fmla="*/ 362426 h 753231"/>
                    <a:gd name="connsiteX22" fmla="*/ 209263 w 636059"/>
                    <a:gd name="connsiteY22" fmla="*/ 347758 h 753231"/>
                    <a:gd name="connsiteX23" fmla="*/ 312895 w 636059"/>
                    <a:gd name="connsiteY23" fmla="*/ 185833 h 753231"/>
                    <a:gd name="connsiteX24" fmla="*/ 524350 w 636059"/>
                    <a:gd name="connsiteY24" fmla="*/ 31909 h 753231"/>
                    <a:gd name="connsiteX25" fmla="*/ 614837 w 636059"/>
                    <a:gd name="connsiteY25" fmla="*/ 5620 h 753231"/>
                    <a:gd name="connsiteX26" fmla="*/ 620648 w 636059"/>
                    <a:gd name="connsiteY26" fmla="*/ 1810 h 753231"/>
                    <a:gd name="connsiteX27" fmla="*/ 632363 w 636059"/>
                    <a:gd name="connsiteY27" fmla="*/ 0 h 753231"/>
                    <a:gd name="connsiteX28" fmla="*/ 603693 w 636059"/>
                    <a:gd name="connsiteY28" fmla="*/ 40100 h 753231"/>
                    <a:gd name="connsiteX29" fmla="*/ 587786 w 636059"/>
                    <a:gd name="connsiteY29" fmla="*/ 44101 h 753231"/>
                    <a:gd name="connsiteX30" fmla="*/ 321086 w 636059"/>
                    <a:gd name="connsiteY30" fmla="*/ 230695 h 753231"/>
                    <a:gd name="connsiteX31" fmla="*/ 139540 w 636059"/>
                    <a:gd name="connsiteY31" fmla="*/ 529400 h 753231"/>
                    <a:gd name="connsiteX32" fmla="*/ 142302 w 636059"/>
                    <a:gd name="connsiteY32" fmla="*/ 551688 h 753231"/>
                    <a:gd name="connsiteX33" fmla="*/ 255650 w 636059"/>
                    <a:gd name="connsiteY33" fmla="*/ 634175 h 753231"/>
                    <a:gd name="connsiteX34" fmla="*/ 276129 w 636059"/>
                    <a:gd name="connsiteY34" fmla="*/ 628936 h 753231"/>
                    <a:gd name="connsiteX35" fmla="*/ 470724 w 636059"/>
                    <a:gd name="connsiteY35" fmla="*/ 409194 h 753231"/>
                    <a:gd name="connsiteX36" fmla="*/ 552449 w 636059"/>
                    <a:gd name="connsiteY36" fmla="*/ 299276 h 753231"/>
                    <a:gd name="connsiteX37" fmla="*/ 603693 w 636059"/>
                    <a:gd name="connsiteY37" fmla="*/ 40291 h 753231"/>
                    <a:gd name="connsiteX38" fmla="*/ 391000 w 636059"/>
                    <a:gd name="connsiteY38" fmla="*/ 550450 h 753231"/>
                    <a:gd name="connsiteX39" fmla="*/ 322420 w 636059"/>
                    <a:gd name="connsiteY39" fmla="*/ 625983 h 753231"/>
                    <a:gd name="connsiteX40" fmla="*/ 319658 w 636059"/>
                    <a:gd name="connsiteY40" fmla="*/ 636365 h 753231"/>
                    <a:gd name="connsiteX41" fmla="*/ 349090 w 636059"/>
                    <a:gd name="connsiteY41" fmla="*/ 707327 h 753231"/>
                    <a:gd name="connsiteX42" fmla="*/ 402144 w 636059"/>
                    <a:gd name="connsiteY42" fmla="*/ 647510 h 753231"/>
                    <a:gd name="connsiteX43" fmla="*/ 404335 w 636059"/>
                    <a:gd name="connsiteY43" fmla="*/ 637985 h 753231"/>
                    <a:gd name="connsiteX44" fmla="*/ 391000 w 636059"/>
                    <a:gd name="connsiteY44" fmla="*/ 550450 h 753231"/>
                    <a:gd name="connsiteX45" fmla="*/ 43147 w 636059"/>
                    <a:gd name="connsiteY45" fmla="*/ 482822 h 753231"/>
                    <a:gd name="connsiteX46" fmla="*/ 117632 w 636059"/>
                    <a:gd name="connsiteY46" fmla="*/ 489109 h 753231"/>
                    <a:gd name="connsiteX47" fmla="*/ 130396 w 636059"/>
                    <a:gd name="connsiteY47" fmla="*/ 480441 h 753231"/>
                    <a:gd name="connsiteX48" fmla="*/ 168496 w 636059"/>
                    <a:gd name="connsiteY48" fmla="*/ 415862 h 753231"/>
                    <a:gd name="connsiteX49" fmla="*/ 179640 w 636059"/>
                    <a:gd name="connsiteY49" fmla="*/ 395764 h 753231"/>
                    <a:gd name="connsiteX50" fmla="*/ 94772 w 636059"/>
                    <a:gd name="connsiteY50" fmla="*/ 409004 h 753231"/>
                    <a:gd name="connsiteX51" fmla="*/ 83914 w 636059"/>
                    <a:gd name="connsiteY51" fmla="*/ 414909 h 753231"/>
                    <a:gd name="connsiteX52" fmla="*/ 43147 w 636059"/>
                    <a:gd name="connsiteY52" fmla="*/ 482822 h 753231"/>
                    <a:gd name="connsiteX53" fmla="*/ 225265 w 636059"/>
                    <a:gd name="connsiteY53" fmla="*/ 660654 h 753231"/>
                    <a:gd name="connsiteX54" fmla="*/ 125157 w 636059"/>
                    <a:gd name="connsiteY54" fmla="*/ 586550 h 753231"/>
                    <a:gd name="connsiteX55" fmla="*/ 118299 w 636059"/>
                    <a:gd name="connsiteY55" fmla="*/ 602075 h 753231"/>
                    <a:gd name="connsiteX56" fmla="*/ 121915 w 636059"/>
                    <a:gd name="connsiteY56" fmla="*/ 627957 h 753231"/>
                    <a:gd name="connsiteX57" fmla="*/ 123347 w 636059"/>
                    <a:gd name="connsiteY57" fmla="*/ 628936 h 753231"/>
                    <a:gd name="connsiteX58" fmla="*/ 168496 w 636059"/>
                    <a:gd name="connsiteY58" fmla="*/ 664083 h 753231"/>
                    <a:gd name="connsiteX59" fmla="*/ 225265 w 636059"/>
                    <a:gd name="connsiteY59" fmla="*/ 660654 h 753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636059" h="753231">
                      <a:moveTo>
                        <a:pt x="634840" y="11525"/>
                      </a:moveTo>
                      <a:cubicBezTo>
                        <a:pt x="634840" y="27051"/>
                        <a:pt x="635602" y="42482"/>
                        <a:pt x="635888" y="57912"/>
                      </a:cubicBezTo>
                      <a:cubicBezTo>
                        <a:pt x="637697" y="151924"/>
                        <a:pt x="625696" y="243364"/>
                        <a:pt x="575023" y="324612"/>
                      </a:cubicBezTo>
                      <a:cubicBezTo>
                        <a:pt x="548604" y="363795"/>
                        <a:pt x="519983" y="401448"/>
                        <a:pt x="489298" y="437388"/>
                      </a:cubicBezTo>
                      <a:cubicBezTo>
                        <a:pt x="469391" y="462344"/>
                        <a:pt x="447102" y="485013"/>
                        <a:pt x="426909" y="510159"/>
                      </a:cubicBezTo>
                      <a:cubicBezTo>
                        <a:pt x="422483" y="516127"/>
                        <a:pt x="420445" y="523532"/>
                        <a:pt x="421194" y="530924"/>
                      </a:cubicBezTo>
                      <a:cubicBezTo>
                        <a:pt x="425861" y="566642"/>
                        <a:pt x="432434" y="602075"/>
                        <a:pt x="436625" y="637794"/>
                      </a:cubicBezTo>
                      <a:cubicBezTo>
                        <a:pt x="437491" y="647264"/>
                        <a:pt x="434847" y="656722"/>
                        <a:pt x="429195" y="664369"/>
                      </a:cubicBezTo>
                      <a:cubicBezTo>
                        <a:pt x="406811" y="691896"/>
                        <a:pt x="382999" y="718185"/>
                        <a:pt x="359282" y="744569"/>
                      </a:cubicBezTo>
                      <a:cubicBezTo>
                        <a:pt x="347090" y="758095"/>
                        <a:pt x="334517" y="755523"/>
                        <a:pt x="327278" y="738664"/>
                      </a:cubicBezTo>
                      <a:cubicBezTo>
                        <a:pt x="315943" y="712565"/>
                        <a:pt x="304989" y="686276"/>
                        <a:pt x="294416" y="661416"/>
                      </a:cubicBezTo>
                      <a:cubicBezTo>
                        <a:pt x="262031" y="667417"/>
                        <a:pt x="242124" y="691420"/>
                        <a:pt x="217359" y="707898"/>
                      </a:cubicBezTo>
                      <a:cubicBezTo>
                        <a:pt x="207990" y="712853"/>
                        <a:pt x="196980" y="713682"/>
                        <a:pt x="186974" y="710184"/>
                      </a:cubicBezTo>
                      <a:cubicBezTo>
                        <a:pt x="149331" y="695186"/>
                        <a:pt x="115985" y="671101"/>
                        <a:pt x="89915" y="640080"/>
                      </a:cubicBezTo>
                      <a:cubicBezTo>
                        <a:pt x="79143" y="629234"/>
                        <a:pt x="76851" y="612569"/>
                        <a:pt x="84295" y="599218"/>
                      </a:cubicBezTo>
                      <a:cubicBezTo>
                        <a:pt x="90841" y="586544"/>
                        <a:pt x="96167" y="573276"/>
                        <a:pt x="100202" y="559594"/>
                      </a:cubicBezTo>
                      <a:cubicBezTo>
                        <a:pt x="102585" y="547022"/>
                        <a:pt x="103986" y="534283"/>
                        <a:pt x="104393" y="521494"/>
                      </a:cubicBezTo>
                      <a:lnTo>
                        <a:pt x="21906" y="513112"/>
                      </a:lnTo>
                      <a:cubicBezTo>
                        <a:pt x="-382" y="510921"/>
                        <a:pt x="-5621" y="500920"/>
                        <a:pt x="5999" y="481584"/>
                      </a:cubicBezTo>
                      <a:cubicBezTo>
                        <a:pt x="22954" y="453009"/>
                        <a:pt x="40289" y="425196"/>
                        <a:pt x="56768" y="396716"/>
                      </a:cubicBezTo>
                      <a:cubicBezTo>
                        <a:pt x="62442" y="385928"/>
                        <a:pt x="73202" y="378755"/>
                        <a:pt x="85343" y="377666"/>
                      </a:cubicBezTo>
                      <a:cubicBezTo>
                        <a:pt x="119537" y="373190"/>
                        <a:pt x="153542" y="366903"/>
                        <a:pt x="187832" y="362426"/>
                      </a:cubicBezTo>
                      <a:cubicBezTo>
                        <a:pt x="196996" y="361476"/>
                        <a:pt x="205060" y="355957"/>
                        <a:pt x="209263" y="347758"/>
                      </a:cubicBezTo>
                      <a:cubicBezTo>
                        <a:pt x="243362" y="293656"/>
                        <a:pt x="276700" y="238982"/>
                        <a:pt x="312895" y="185833"/>
                      </a:cubicBezTo>
                      <a:cubicBezTo>
                        <a:pt x="364997" y="109633"/>
                        <a:pt x="439482" y="63056"/>
                        <a:pt x="524350" y="31909"/>
                      </a:cubicBezTo>
                      <a:cubicBezTo>
                        <a:pt x="553782" y="21146"/>
                        <a:pt x="584643" y="14383"/>
                        <a:pt x="614837" y="5620"/>
                      </a:cubicBezTo>
                      <a:cubicBezTo>
                        <a:pt x="616946" y="4634"/>
                        <a:pt x="618903" y="3351"/>
                        <a:pt x="620648" y="1810"/>
                      </a:cubicBezTo>
                      <a:lnTo>
                        <a:pt x="632363" y="0"/>
                      </a:lnTo>
                      <a:close/>
                      <a:moveTo>
                        <a:pt x="603693" y="40100"/>
                      </a:moveTo>
                      <a:cubicBezTo>
                        <a:pt x="597121" y="41720"/>
                        <a:pt x="592358" y="42767"/>
                        <a:pt x="587786" y="44101"/>
                      </a:cubicBezTo>
                      <a:cubicBezTo>
                        <a:pt x="477677" y="75819"/>
                        <a:pt x="382808" y="129350"/>
                        <a:pt x="321086" y="230695"/>
                      </a:cubicBezTo>
                      <a:cubicBezTo>
                        <a:pt x="260888" y="330454"/>
                        <a:pt x="200373" y="430022"/>
                        <a:pt x="139540" y="529400"/>
                      </a:cubicBezTo>
                      <a:cubicBezTo>
                        <a:pt x="134702" y="536461"/>
                        <a:pt x="135887" y="546021"/>
                        <a:pt x="142302" y="551688"/>
                      </a:cubicBezTo>
                      <a:cubicBezTo>
                        <a:pt x="172616" y="588204"/>
                        <a:pt x="211581" y="616560"/>
                        <a:pt x="255650" y="634175"/>
                      </a:cubicBezTo>
                      <a:cubicBezTo>
                        <a:pt x="262822" y="637827"/>
                        <a:pt x="271591" y="635584"/>
                        <a:pt x="276129" y="628936"/>
                      </a:cubicBezTo>
                      <a:cubicBezTo>
                        <a:pt x="340994" y="555593"/>
                        <a:pt x="407002" y="483394"/>
                        <a:pt x="470724" y="409194"/>
                      </a:cubicBezTo>
                      <a:cubicBezTo>
                        <a:pt x="501154" y="375036"/>
                        <a:pt x="528502" y="338253"/>
                        <a:pt x="552449" y="299276"/>
                      </a:cubicBezTo>
                      <a:cubicBezTo>
                        <a:pt x="598740" y="220313"/>
                        <a:pt x="606836" y="132207"/>
                        <a:pt x="603693" y="40291"/>
                      </a:cubicBezTo>
                      <a:close/>
                      <a:moveTo>
                        <a:pt x="391000" y="550450"/>
                      </a:moveTo>
                      <a:cubicBezTo>
                        <a:pt x="366425" y="577406"/>
                        <a:pt x="344232" y="601504"/>
                        <a:pt x="322420" y="625983"/>
                      </a:cubicBezTo>
                      <a:cubicBezTo>
                        <a:pt x="319968" y="628843"/>
                        <a:pt x="318951" y="632665"/>
                        <a:pt x="319658" y="636365"/>
                      </a:cubicBezTo>
                      <a:cubicBezTo>
                        <a:pt x="329183" y="659511"/>
                        <a:pt x="338708" y="682276"/>
                        <a:pt x="349090" y="707327"/>
                      </a:cubicBezTo>
                      <a:cubicBezTo>
                        <a:pt x="368140" y="686276"/>
                        <a:pt x="385190" y="667036"/>
                        <a:pt x="402144" y="647510"/>
                      </a:cubicBezTo>
                      <a:cubicBezTo>
                        <a:pt x="404028" y="644715"/>
                        <a:pt x="404808" y="641321"/>
                        <a:pt x="404335" y="637985"/>
                      </a:cubicBezTo>
                      <a:cubicBezTo>
                        <a:pt x="400239" y="609981"/>
                        <a:pt x="395858" y="582263"/>
                        <a:pt x="391000" y="550450"/>
                      </a:cubicBezTo>
                      <a:close/>
                      <a:moveTo>
                        <a:pt x="43147" y="482822"/>
                      </a:moveTo>
                      <a:cubicBezTo>
                        <a:pt x="69912" y="485299"/>
                        <a:pt x="93725" y="487870"/>
                        <a:pt x="117632" y="489109"/>
                      </a:cubicBezTo>
                      <a:cubicBezTo>
                        <a:pt x="122919" y="488149"/>
                        <a:pt x="127554" y="485001"/>
                        <a:pt x="130396" y="480441"/>
                      </a:cubicBezTo>
                      <a:cubicBezTo>
                        <a:pt x="143636" y="459200"/>
                        <a:pt x="155923" y="437483"/>
                        <a:pt x="168496" y="415862"/>
                      </a:cubicBezTo>
                      <a:cubicBezTo>
                        <a:pt x="171925" y="409956"/>
                        <a:pt x="175259" y="403765"/>
                        <a:pt x="179640" y="395764"/>
                      </a:cubicBezTo>
                      <a:cubicBezTo>
                        <a:pt x="149160" y="400526"/>
                        <a:pt x="121919" y="404527"/>
                        <a:pt x="94772" y="409004"/>
                      </a:cubicBezTo>
                      <a:cubicBezTo>
                        <a:pt x="90547" y="409562"/>
                        <a:pt x="86679" y="411666"/>
                        <a:pt x="83914" y="414909"/>
                      </a:cubicBezTo>
                      <a:cubicBezTo>
                        <a:pt x="70388" y="436436"/>
                        <a:pt x="57625" y="458438"/>
                        <a:pt x="43147" y="482822"/>
                      </a:cubicBezTo>
                      <a:close/>
                      <a:moveTo>
                        <a:pt x="225265" y="660654"/>
                      </a:moveTo>
                      <a:lnTo>
                        <a:pt x="125157" y="586550"/>
                      </a:lnTo>
                      <a:cubicBezTo>
                        <a:pt x="123347" y="590550"/>
                        <a:pt x="121347" y="596646"/>
                        <a:pt x="118299" y="602075"/>
                      </a:cubicBezTo>
                      <a:cubicBezTo>
                        <a:pt x="112151" y="610221"/>
                        <a:pt x="113770" y="621808"/>
                        <a:pt x="121915" y="627957"/>
                      </a:cubicBezTo>
                      <a:cubicBezTo>
                        <a:pt x="122377" y="628305"/>
                        <a:pt x="122855" y="628632"/>
                        <a:pt x="123347" y="628936"/>
                      </a:cubicBezTo>
                      <a:cubicBezTo>
                        <a:pt x="137731" y="641483"/>
                        <a:pt x="152804" y="653217"/>
                        <a:pt x="168496" y="664083"/>
                      </a:cubicBezTo>
                      <a:cubicBezTo>
                        <a:pt x="206691" y="687705"/>
                        <a:pt x="195642" y="685229"/>
                        <a:pt x="225265" y="66065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69" name="Freeform 68">
                  <a:extLst>
                    <a:ext uri="{FF2B5EF4-FFF2-40B4-BE49-F238E27FC236}">
                      <a16:creationId xmlns:a16="http://schemas.microsoft.com/office/drawing/2014/main" id="{66ACE106-99F7-8C45-BE34-B80563AACAA9}"/>
                    </a:ext>
                  </a:extLst>
                </p:cNvPr>
                <p:cNvSpPr/>
                <p:nvPr/>
              </p:nvSpPr>
              <p:spPr>
                <a:xfrm>
                  <a:off x="4886472" y="5342819"/>
                  <a:ext cx="172878" cy="191166"/>
                </a:xfrm>
                <a:custGeom>
                  <a:avLst/>
                  <a:gdLst>
                    <a:gd name="connsiteX0" fmla="*/ 0 w 172878"/>
                    <a:gd name="connsiteY0" fmla="*/ 124587 h 191166"/>
                    <a:gd name="connsiteX1" fmla="*/ 3620 w 172878"/>
                    <a:gd name="connsiteY1" fmla="*/ 88964 h 191166"/>
                    <a:gd name="connsiteX2" fmla="*/ 34100 w 172878"/>
                    <a:gd name="connsiteY2" fmla="*/ 35433 h 191166"/>
                    <a:gd name="connsiteX3" fmla="*/ 80200 w 172878"/>
                    <a:gd name="connsiteY3" fmla="*/ 0 h 191166"/>
                    <a:gd name="connsiteX4" fmla="*/ 102489 w 172878"/>
                    <a:gd name="connsiteY4" fmla="*/ 22670 h 191166"/>
                    <a:gd name="connsiteX5" fmla="*/ 59341 w 172878"/>
                    <a:gd name="connsiteY5" fmla="*/ 56293 h 191166"/>
                    <a:gd name="connsiteX6" fmla="*/ 34576 w 172878"/>
                    <a:gd name="connsiteY6" fmla="*/ 100679 h 191166"/>
                    <a:gd name="connsiteX7" fmla="*/ 35433 w 172878"/>
                    <a:gd name="connsiteY7" fmla="*/ 154781 h 191166"/>
                    <a:gd name="connsiteX8" fmla="*/ 104489 w 172878"/>
                    <a:gd name="connsiteY8" fmla="*/ 132398 h 191166"/>
                    <a:gd name="connsiteX9" fmla="*/ 125825 w 172878"/>
                    <a:gd name="connsiteY9" fmla="*/ 103823 h 191166"/>
                    <a:gd name="connsiteX10" fmla="*/ 143732 w 172878"/>
                    <a:gd name="connsiteY10" fmla="*/ 53912 h 191166"/>
                    <a:gd name="connsiteX11" fmla="*/ 172879 w 172878"/>
                    <a:gd name="connsiteY11" fmla="*/ 66770 h 191166"/>
                    <a:gd name="connsiteX12" fmla="*/ 156115 w 172878"/>
                    <a:gd name="connsiteY12" fmla="*/ 116300 h 191166"/>
                    <a:gd name="connsiteX13" fmla="*/ 95726 w 172878"/>
                    <a:gd name="connsiteY13" fmla="*/ 172688 h 191166"/>
                    <a:gd name="connsiteX14" fmla="*/ 74676 w 172878"/>
                    <a:gd name="connsiteY14" fmla="*/ 181642 h 191166"/>
                    <a:gd name="connsiteX15" fmla="*/ 10287 w 172878"/>
                    <a:gd name="connsiteY15" fmla="*/ 191167 h 1911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72878" h="191166">
                      <a:moveTo>
                        <a:pt x="0" y="124587"/>
                      </a:moveTo>
                      <a:cubicBezTo>
                        <a:pt x="1143" y="112681"/>
                        <a:pt x="2000" y="100775"/>
                        <a:pt x="3620" y="88964"/>
                      </a:cubicBezTo>
                      <a:cubicBezTo>
                        <a:pt x="5793" y="67626"/>
                        <a:pt x="16859" y="48192"/>
                        <a:pt x="34100" y="35433"/>
                      </a:cubicBezTo>
                      <a:cubicBezTo>
                        <a:pt x="49435" y="24098"/>
                        <a:pt x="64389" y="12287"/>
                        <a:pt x="80200" y="0"/>
                      </a:cubicBezTo>
                      <a:lnTo>
                        <a:pt x="102489" y="22670"/>
                      </a:lnTo>
                      <a:cubicBezTo>
                        <a:pt x="87820" y="34195"/>
                        <a:pt x="73914" y="46006"/>
                        <a:pt x="59341" y="56293"/>
                      </a:cubicBezTo>
                      <a:cubicBezTo>
                        <a:pt x="44008" y="65850"/>
                        <a:pt x="34656" y="82611"/>
                        <a:pt x="34576" y="100679"/>
                      </a:cubicBezTo>
                      <a:cubicBezTo>
                        <a:pt x="34576" y="118301"/>
                        <a:pt x="35147" y="135827"/>
                        <a:pt x="35433" y="154781"/>
                      </a:cubicBezTo>
                      <a:cubicBezTo>
                        <a:pt x="60033" y="153593"/>
                        <a:pt x="83870" y="145866"/>
                        <a:pt x="104489" y="132398"/>
                      </a:cubicBezTo>
                      <a:cubicBezTo>
                        <a:pt x="113810" y="124741"/>
                        <a:pt x="121132" y="114935"/>
                        <a:pt x="125825" y="103823"/>
                      </a:cubicBezTo>
                      <a:cubicBezTo>
                        <a:pt x="133064" y="88392"/>
                        <a:pt x="137541" y="71628"/>
                        <a:pt x="143732" y="53912"/>
                      </a:cubicBezTo>
                      <a:lnTo>
                        <a:pt x="172879" y="66770"/>
                      </a:lnTo>
                      <a:cubicBezTo>
                        <a:pt x="167068" y="84106"/>
                        <a:pt x="161735" y="100298"/>
                        <a:pt x="156115" y="116300"/>
                      </a:cubicBezTo>
                      <a:cubicBezTo>
                        <a:pt x="145828" y="145542"/>
                        <a:pt x="123825" y="162306"/>
                        <a:pt x="95726" y="172688"/>
                      </a:cubicBezTo>
                      <a:cubicBezTo>
                        <a:pt x="88582" y="175260"/>
                        <a:pt x="81724" y="178594"/>
                        <a:pt x="74676" y="181642"/>
                      </a:cubicBezTo>
                      <a:lnTo>
                        <a:pt x="10287" y="1911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0" name="Freeform 69">
                  <a:extLst>
                    <a:ext uri="{FF2B5EF4-FFF2-40B4-BE49-F238E27FC236}">
                      <a16:creationId xmlns:a16="http://schemas.microsoft.com/office/drawing/2014/main" id="{5E6B4005-CC49-B848-AEE1-9F25421D9440}"/>
                    </a:ext>
                  </a:extLst>
                </p:cNvPr>
                <p:cNvSpPr/>
                <p:nvPr/>
              </p:nvSpPr>
              <p:spPr>
                <a:xfrm>
                  <a:off x="5252117" y="4870617"/>
                  <a:ext cx="152529" cy="152340"/>
                </a:xfrm>
                <a:custGeom>
                  <a:avLst/>
                  <a:gdLst>
                    <a:gd name="connsiteX0" fmla="*/ 973 w 152529"/>
                    <a:gd name="connsiteY0" fmla="*/ 87488 h 152340"/>
                    <a:gd name="connsiteX1" fmla="*/ 63532 w 152529"/>
                    <a:gd name="connsiteY1" fmla="*/ 903 h 152340"/>
                    <a:gd name="connsiteX2" fmla="*/ 64123 w 152529"/>
                    <a:gd name="connsiteY2" fmla="*/ 810 h 152340"/>
                    <a:gd name="connsiteX3" fmla="*/ 151753 w 152529"/>
                    <a:gd name="connsiteY3" fmla="*/ 65580 h 152340"/>
                    <a:gd name="connsiteX4" fmla="*/ 87722 w 152529"/>
                    <a:gd name="connsiteY4" fmla="*/ 151082 h 152340"/>
                    <a:gd name="connsiteX5" fmla="*/ 86031 w 152529"/>
                    <a:gd name="connsiteY5" fmla="*/ 151305 h 152340"/>
                    <a:gd name="connsiteX6" fmla="*/ 1502 w 152529"/>
                    <a:gd name="connsiteY6" fmla="*/ 91197 h 152340"/>
                    <a:gd name="connsiteX7" fmla="*/ 973 w 152529"/>
                    <a:gd name="connsiteY7" fmla="*/ 87488 h 152340"/>
                    <a:gd name="connsiteX8" fmla="*/ 119464 w 152529"/>
                    <a:gd name="connsiteY8" fmla="*/ 69486 h 152340"/>
                    <a:gd name="connsiteX9" fmla="*/ 69430 w 152529"/>
                    <a:gd name="connsiteY9" fmla="*/ 32933 h 152340"/>
                    <a:gd name="connsiteX10" fmla="*/ 68981 w 152529"/>
                    <a:gd name="connsiteY10" fmla="*/ 33005 h 152340"/>
                    <a:gd name="connsiteX11" fmla="*/ 31738 w 152529"/>
                    <a:gd name="connsiteY11" fmla="*/ 83202 h 152340"/>
                    <a:gd name="connsiteX12" fmla="*/ 81935 w 152529"/>
                    <a:gd name="connsiteY12" fmla="*/ 120825 h 152340"/>
                    <a:gd name="connsiteX13" fmla="*/ 119584 w 152529"/>
                    <a:gd name="connsiteY13" fmla="*/ 70261 h 152340"/>
                    <a:gd name="connsiteX14" fmla="*/ 119464 w 152529"/>
                    <a:gd name="connsiteY14" fmla="*/ 69486 h 1523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52529" h="152340">
                      <a:moveTo>
                        <a:pt x="973" y="87488"/>
                      </a:moveTo>
                      <a:cubicBezTo>
                        <a:pt x="-5662" y="46303"/>
                        <a:pt x="22347" y="7538"/>
                        <a:pt x="63532" y="903"/>
                      </a:cubicBezTo>
                      <a:cubicBezTo>
                        <a:pt x="63729" y="872"/>
                        <a:pt x="63926" y="841"/>
                        <a:pt x="64123" y="810"/>
                      </a:cubicBezTo>
                      <a:cubicBezTo>
                        <a:pt x="106152" y="-5281"/>
                        <a:pt x="145245" y="23614"/>
                        <a:pt x="151753" y="65580"/>
                      </a:cubicBezTo>
                      <a:cubicBezTo>
                        <a:pt x="157682" y="106873"/>
                        <a:pt x="129014" y="145153"/>
                        <a:pt x="87722" y="151082"/>
                      </a:cubicBezTo>
                      <a:cubicBezTo>
                        <a:pt x="87159" y="151163"/>
                        <a:pt x="86595" y="151237"/>
                        <a:pt x="86031" y="151305"/>
                      </a:cubicBezTo>
                      <a:cubicBezTo>
                        <a:pt x="46090" y="158049"/>
                        <a:pt x="8245" y="131137"/>
                        <a:pt x="1502" y="91197"/>
                      </a:cubicBezTo>
                      <a:cubicBezTo>
                        <a:pt x="1294" y="89965"/>
                        <a:pt x="1117" y="88728"/>
                        <a:pt x="973" y="87488"/>
                      </a:cubicBezTo>
                      <a:close/>
                      <a:moveTo>
                        <a:pt x="119464" y="69486"/>
                      </a:moveTo>
                      <a:cubicBezTo>
                        <a:pt x="115741" y="45575"/>
                        <a:pt x="93340" y="29210"/>
                        <a:pt x="69430" y="32933"/>
                      </a:cubicBezTo>
                      <a:cubicBezTo>
                        <a:pt x="69280" y="32956"/>
                        <a:pt x="69131" y="32980"/>
                        <a:pt x="68981" y="33005"/>
                      </a:cubicBezTo>
                      <a:cubicBezTo>
                        <a:pt x="45008" y="36867"/>
                        <a:pt x="28484" y="59138"/>
                        <a:pt x="31738" y="83202"/>
                      </a:cubicBezTo>
                      <a:cubicBezTo>
                        <a:pt x="36043" y="106949"/>
                        <a:pt x="57934" y="123356"/>
                        <a:pt x="81935" y="120825"/>
                      </a:cubicBezTo>
                      <a:cubicBezTo>
                        <a:pt x="106294" y="117259"/>
                        <a:pt x="123151" y="94620"/>
                        <a:pt x="119584" y="70261"/>
                      </a:cubicBezTo>
                      <a:cubicBezTo>
                        <a:pt x="119546" y="70002"/>
                        <a:pt x="119506" y="69744"/>
                        <a:pt x="119464" y="6948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sp>
        <p:nvSpPr>
          <p:cNvPr id="76" name="Text Placeholder 5">
            <a:extLst>
              <a:ext uri="{FF2B5EF4-FFF2-40B4-BE49-F238E27FC236}">
                <a16:creationId xmlns:a16="http://schemas.microsoft.com/office/drawing/2014/main" id="{968CB741-9818-1145-9B16-D1B67CD5CC90}"/>
              </a:ext>
            </a:extLst>
          </p:cNvPr>
          <p:cNvSpPr txBox="1">
            <a:spLocks/>
          </p:cNvSpPr>
          <p:nvPr/>
        </p:nvSpPr>
        <p:spPr>
          <a:xfrm>
            <a:off x="8591022" y="2858750"/>
            <a:ext cx="4174806" cy="394991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Eggplant Automation Services</a:t>
            </a:r>
          </a:p>
        </p:txBody>
      </p:sp>
      <p:sp>
        <p:nvSpPr>
          <p:cNvPr id="77" name="Text Placeholder 5">
            <a:extLst>
              <a:ext uri="{FF2B5EF4-FFF2-40B4-BE49-F238E27FC236}">
                <a16:creationId xmlns:a16="http://schemas.microsoft.com/office/drawing/2014/main" id="{88CD04BF-4684-C540-8781-1D701A53123B}"/>
              </a:ext>
            </a:extLst>
          </p:cNvPr>
          <p:cNvSpPr txBox="1">
            <a:spLocks/>
          </p:cNvSpPr>
          <p:nvPr/>
        </p:nvSpPr>
        <p:spPr>
          <a:xfrm>
            <a:off x="8591022" y="4227585"/>
            <a:ext cx="4174806" cy="394991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EAS On-Demand</a:t>
            </a:r>
          </a:p>
        </p:txBody>
      </p:sp>
      <p:sp>
        <p:nvSpPr>
          <p:cNvPr id="78" name="Text Placeholder 5">
            <a:extLst>
              <a:ext uri="{FF2B5EF4-FFF2-40B4-BE49-F238E27FC236}">
                <a16:creationId xmlns:a16="http://schemas.microsoft.com/office/drawing/2014/main" id="{4C0A9E98-C77F-3E48-AEEC-60E6338F732B}"/>
              </a:ext>
            </a:extLst>
          </p:cNvPr>
          <p:cNvSpPr txBox="1">
            <a:spLocks/>
          </p:cNvSpPr>
          <p:nvPr/>
        </p:nvSpPr>
        <p:spPr>
          <a:xfrm>
            <a:off x="8591022" y="5676927"/>
            <a:ext cx="4174806" cy="394991"/>
          </a:xfrm>
          <a:prstGeom prst="rect">
            <a:avLst/>
          </a:prstGeom>
        </p:spPr>
        <p:txBody>
          <a:bodyPr/>
          <a:lstStyle>
            <a:lvl1pPr marL="182880" indent="-18288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5760" indent="-18288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0352" indent="-164592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 spc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687388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 b="0" kern="1200" cap="none" spc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58837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 lang="en-US" sz="1200" b="0" kern="1200" cap="none" spc="0" baseline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spc="6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588" indent="-15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lang="en-US" sz="2000" b="0" i="0" kern="1200" cap="non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/>
              <a:t>Fast Start</a:t>
            </a:r>
          </a:p>
        </p:txBody>
      </p:sp>
      <p:grpSp>
        <p:nvGrpSpPr>
          <p:cNvPr id="80" name="Graphic 34">
            <a:extLst>
              <a:ext uri="{FF2B5EF4-FFF2-40B4-BE49-F238E27FC236}">
                <a16:creationId xmlns:a16="http://schemas.microsoft.com/office/drawing/2014/main" id="{43C445C5-E07C-944F-8DC6-6BF1964C0DE7}"/>
              </a:ext>
            </a:extLst>
          </p:cNvPr>
          <p:cNvGrpSpPr>
            <a:grpSpLocks noChangeAspect="1"/>
          </p:cNvGrpSpPr>
          <p:nvPr/>
        </p:nvGrpSpPr>
        <p:grpSpPr>
          <a:xfrm>
            <a:off x="7621911" y="2594753"/>
            <a:ext cx="914400" cy="914400"/>
            <a:chOff x="2667000" y="4114800"/>
            <a:chExt cx="1714500" cy="1714500"/>
          </a:xfrm>
        </p:grpSpPr>
        <p:sp>
          <p:nvSpPr>
            <p:cNvPr id="81" name="Freeform: Shape 538">
              <a:extLst>
                <a:ext uri="{FF2B5EF4-FFF2-40B4-BE49-F238E27FC236}">
                  <a16:creationId xmlns:a16="http://schemas.microsoft.com/office/drawing/2014/main" id="{A4A50C30-DE4F-A044-B8C1-7C7733288D58}"/>
                </a:ext>
              </a:extLst>
            </p:cNvPr>
            <p:cNvSpPr/>
            <p:nvPr/>
          </p:nvSpPr>
          <p:spPr>
            <a:xfrm>
              <a:off x="2875407" y="4334923"/>
              <a:ext cx="1266825" cy="1266825"/>
            </a:xfrm>
            <a:custGeom>
              <a:avLst/>
              <a:gdLst>
                <a:gd name="connsiteX0" fmla="*/ 636841 w 1266825"/>
                <a:gd name="connsiteY0" fmla="*/ 1266539 h 1266825"/>
                <a:gd name="connsiteX1" fmla="*/ 7144 w 1266825"/>
                <a:gd name="connsiteY1" fmla="*/ 636841 h 1266825"/>
                <a:gd name="connsiteX2" fmla="*/ 636842 w 1266825"/>
                <a:gd name="connsiteY2" fmla="*/ 7144 h 1266825"/>
                <a:gd name="connsiteX3" fmla="*/ 1266539 w 1266825"/>
                <a:gd name="connsiteY3" fmla="*/ 636842 h 1266825"/>
                <a:gd name="connsiteX4" fmla="*/ 1266539 w 1266825"/>
                <a:gd name="connsiteY4" fmla="*/ 637127 h 1266825"/>
                <a:gd name="connsiteX5" fmla="*/ 636842 w 1266825"/>
                <a:gd name="connsiteY5" fmla="*/ 1266539 h 1266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66825" h="1266825">
                  <a:moveTo>
                    <a:pt x="636841" y="1266539"/>
                  </a:moveTo>
                  <a:cubicBezTo>
                    <a:pt x="289069" y="1266539"/>
                    <a:pt x="7144" y="984614"/>
                    <a:pt x="7144" y="636841"/>
                  </a:cubicBezTo>
                  <a:cubicBezTo>
                    <a:pt x="7144" y="289069"/>
                    <a:pt x="289069" y="7144"/>
                    <a:pt x="636842" y="7144"/>
                  </a:cubicBezTo>
                  <a:cubicBezTo>
                    <a:pt x="984614" y="7144"/>
                    <a:pt x="1266539" y="289069"/>
                    <a:pt x="1266539" y="636842"/>
                  </a:cubicBezTo>
                  <a:cubicBezTo>
                    <a:pt x="1266539" y="636937"/>
                    <a:pt x="1266539" y="637032"/>
                    <a:pt x="1266539" y="637127"/>
                  </a:cubicBezTo>
                  <a:cubicBezTo>
                    <a:pt x="1265962" y="984614"/>
                    <a:pt x="984329" y="1266120"/>
                    <a:pt x="636842" y="126653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539">
              <a:extLst>
                <a:ext uri="{FF2B5EF4-FFF2-40B4-BE49-F238E27FC236}">
                  <a16:creationId xmlns:a16="http://schemas.microsoft.com/office/drawing/2014/main" id="{D44718E2-DA50-A44C-8C12-011679E31ED4}"/>
                </a:ext>
              </a:extLst>
            </p:cNvPr>
            <p:cNvSpPr/>
            <p:nvPr/>
          </p:nvSpPr>
          <p:spPr>
            <a:xfrm>
              <a:off x="3073458" y="4796297"/>
              <a:ext cx="581025" cy="581025"/>
            </a:xfrm>
            <a:custGeom>
              <a:avLst/>
              <a:gdLst>
                <a:gd name="connsiteX0" fmla="*/ 230764 w 581025"/>
                <a:gd name="connsiteY0" fmla="*/ 578851 h 581025"/>
                <a:gd name="connsiteX1" fmla="*/ 224859 w 581025"/>
                <a:gd name="connsiteY1" fmla="*/ 577898 h 581025"/>
                <a:gd name="connsiteX2" fmla="*/ 160184 w 581025"/>
                <a:gd name="connsiteY2" fmla="*/ 553610 h 581025"/>
                <a:gd name="connsiteX3" fmla="*/ 143420 w 581025"/>
                <a:gd name="connsiteY3" fmla="*/ 544085 h 581025"/>
                <a:gd name="connsiteX4" fmla="*/ 140753 w 581025"/>
                <a:gd name="connsiteY4" fmla="*/ 542465 h 581025"/>
                <a:gd name="connsiteX5" fmla="*/ 132181 w 581025"/>
                <a:gd name="connsiteY5" fmla="*/ 521510 h 581025"/>
                <a:gd name="connsiteX6" fmla="*/ 134848 w 581025"/>
                <a:gd name="connsiteY6" fmla="*/ 509414 h 581025"/>
                <a:gd name="connsiteX7" fmla="*/ 140467 w 581025"/>
                <a:gd name="connsiteY7" fmla="*/ 484744 h 581025"/>
                <a:gd name="connsiteX8" fmla="*/ 102367 w 581025"/>
                <a:gd name="connsiteY8" fmla="*/ 446644 h 581025"/>
                <a:gd name="connsiteX9" fmla="*/ 68363 w 581025"/>
                <a:gd name="connsiteY9" fmla="*/ 454645 h 581025"/>
                <a:gd name="connsiteX10" fmla="*/ 43483 w 581025"/>
                <a:gd name="connsiteY10" fmla="*/ 444310 h 581025"/>
                <a:gd name="connsiteX11" fmla="*/ 43312 w 581025"/>
                <a:gd name="connsiteY11" fmla="*/ 443882 h 581025"/>
                <a:gd name="connsiteX12" fmla="*/ 8451 w 581025"/>
                <a:gd name="connsiteY12" fmla="*/ 360347 h 581025"/>
                <a:gd name="connsiteX13" fmla="*/ 16833 w 581025"/>
                <a:gd name="connsiteY13" fmla="*/ 339678 h 581025"/>
                <a:gd name="connsiteX14" fmla="*/ 49027 w 581025"/>
                <a:gd name="connsiteY14" fmla="*/ 319676 h 581025"/>
                <a:gd name="connsiteX15" fmla="*/ 49027 w 581025"/>
                <a:gd name="connsiteY15" fmla="*/ 317771 h 581025"/>
                <a:gd name="connsiteX16" fmla="*/ 49027 w 581025"/>
                <a:gd name="connsiteY16" fmla="*/ 265955 h 581025"/>
                <a:gd name="connsiteX17" fmla="*/ 16547 w 581025"/>
                <a:gd name="connsiteY17" fmla="*/ 245571 h 581025"/>
                <a:gd name="connsiteX18" fmla="*/ 8260 w 581025"/>
                <a:gd name="connsiteY18" fmla="*/ 224045 h 581025"/>
                <a:gd name="connsiteX19" fmla="*/ 11975 w 581025"/>
                <a:gd name="connsiteY19" fmla="*/ 211472 h 581025"/>
                <a:gd name="connsiteX20" fmla="*/ 16738 w 581025"/>
                <a:gd name="connsiteY20" fmla="*/ 195470 h 581025"/>
                <a:gd name="connsiteX21" fmla="*/ 42931 w 581025"/>
                <a:gd name="connsiteY21" fmla="*/ 140225 h 581025"/>
                <a:gd name="connsiteX22" fmla="*/ 65887 w 581025"/>
                <a:gd name="connsiteY22" fmla="*/ 130700 h 581025"/>
                <a:gd name="connsiteX23" fmla="*/ 101415 w 581025"/>
                <a:gd name="connsiteY23" fmla="*/ 139177 h 581025"/>
                <a:gd name="connsiteX24" fmla="*/ 107130 w 581025"/>
                <a:gd name="connsiteY24" fmla="*/ 132700 h 581025"/>
                <a:gd name="connsiteX25" fmla="*/ 139229 w 581025"/>
                <a:gd name="connsiteY25" fmla="*/ 101744 h 581025"/>
                <a:gd name="connsiteX26" fmla="*/ 132181 w 581025"/>
                <a:gd name="connsiteY26" fmla="*/ 72216 h 581025"/>
                <a:gd name="connsiteX27" fmla="*/ 131038 w 581025"/>
                <a:gd name="connsiteY27" fmla="*/ 67073 h 581025"/>
                <a:gd name="connsiteX28" fmla="*/ 140563 w 581025"/>
                <a:gd name="connsiteY28" fmla="*/ 42689 h 581025"/>
                <a:gd name="connsiteX29" fmla="*/ 193617 w 581025"/>
                <a:gd name="connsiteY29" fmla="*/ 17828 h 581025"/>
                <a:gd name="connsiteX30" fmla="*/ 213905 w 581025"/>
                <a:gd name="connsiteY30" fmla="*/ 11542 h 581025"/>
                <a:gd name="connsiteX31" fmla="*/ 225526 w 581025"/>
                <a:gd name="connsiteY31" fmla="*/ 8113 h 581025"/>
                <a:gd name="connsiteX32" fmla="*/ 247052 w 581025"/>
                <a:gd name="connsiteY32" fmla="*/ 17162 h 581025"/>
                <a:gd name="connsiteX33" fmla="*/ 251053 w 581025"/>
                <a:gd name="connsiteY33" fmla="*/ 23543 h 581025"/>
                <a:gd name="connsiteX34" fmla="*/ 254005 w 581025"/>
                <a:gd name="connsiteY34" fmla="*/ 28306 h 581025"/>
                <a:gd name="connsiteX35" fmla="*/ 266959 w 581025"/>
                <a:gd name="connsiteY35" fmla="*/ 48689 h 581025"/>
                <a:gd name="connsiteX36" fmla="*/ 319918 w 581025"/>
                <a:gd name="connsiteY36" fmla="*/ 48689 h 581025"/>
                <a:gd name="connsiteX37" fmla="*/ 325443 w 581025"/>
                <a:gd name="connsiteY37" fmla="*/ 40022 h 581025"/>
                <a:gd name="connsiteX38" fmla="*/ 339540 w 581025"/>
                <a:gd name="connsiteY38" fmla="*/ 17733 h 581025"/>
                <a:gd name="connsiteX39" fmla="*/ 362876 w 581025"/>
                <a:gd name="connsiteY39" fmla="*/ 8208 h 581025"/>
                <a:gd name="connsiteX40" fmla="*/ 374020 w 581025"/>
                <a:gd name="connsiteY40" fmla="*/ 11637 h 581025"/>
                <a:gd name="connsiteX41" fmla="*/ 402595 w 581025"/>
                <a:gd name="connsiteY41" fmla="*/ 21162 h 581025"/>
                <a:gd name="connsiteX42" fmla="*/ 445934 w 581025"/>
                <a:gd name="connsiteY42" fmla="*/ 42689 h 581025"/>
                <a:gd name="connsiteX43" fmla="*/ 455459 w 581025"/>
                <a:gd name="connsiteY43" fmla="*/ 65263 h 581025"/>
                <a:gd name="connsiteX44" fmla="*/ 450030 w 581025"/>
                <a:gd name="connsiteY44" fmla="*/ 88885 h 581025"/>
                <a:gd name="connsiteX45" fmla="*/ 447268 w 581025"/>
                <a:gd name="connsiteY45" fmla="*/ 101172 h 581025"/>
                <a:gd name="connsiteX46" fmla="*/ 485368 w 581025"/>
                <a:gd name="connsiteY46" fmla="*/ 139272 h 581025"/>
                <a:gd name="connsiteX47" fmla="*/ 536517 w 581025"/>
                <a:gd name="connsiteY47" fmla="*/ 127366 h 581025"/>
                <a:gd name="connsiteX48" fmla="*/ 542518 w 581025"/>
                <a:gd name="connsiteY48" fmla="*/ 137653 h 581025"/>
                <a:gd name="connsiteX49" fmla="*/ 544613 w 581025"/>
                <a:gd name="connsiteY49" fmla="*/ 141368 h 581025"/>
                <a:gd name="connsiteX50" fmla="*/ 552519 w 581025"/>
                <a:gd name="connsiteY50" fmla="*/ 156608 h 581025"/>
                <a:gd name="connsiteX51" fmla="*/ 558805 w 581025"/>
                <a:gd name="connsiteY51" fmla="*/ 168704 h 581025"/>
                <a:gd name="connsiteX52" fmla="*/ 578998 w 581025"/>
                <a:gd name="connsiteY52" fmla="*/ 225854 h 581025"/>
                <a:gd name="connsiteX53" fmla="*/ 569473 w 581025"/>
                <a:gd name="connsiteY53" fmla="*/ 246714 h 581025"/>
                <a:gd name="connsiteX54" fmla="*/ 557853 w 581025"/>
                <a:gd name="connsiteY54" fmla="*/ 254048 h 581025"/>
                <a:gd name="connsiteX55" fmla="*/ 538136 w 581025"/>
                <a:gd name="connsiteY55" fmla="*/ 266621 h 581025"/>
                <a:gd name="connsiteX56" fmla="*/ 538136 w 581025"/>
                <a:gd name="connsiteY56" fmla="*/ 319295 h 581025"/>
                <a:gd name="connsiteX57" fmla="*/ 580237 w 581025"/>
                <a:gd name="connsiteY57" fmla="*/ 344631 h 581025"/>
                <a:gd name="connsiteX58" fmla="*/ 580237 w 581025"/>
                <a:gd name="connsiteY58" fmla="*/ 357776 h 581025"/>
                <a:gd name="connsiteX59" fmla="*/ 578998 w 581025"/>
                <a:gd name="connsiteY59" fmla="*/ 360252 h 581025"/>
                <a:gd name="connsiteX60" fmla="*/ 543851 w 581025"/>
                <a:gd name="connsiteY60" fmla="*/ 445977 h 581025"/>
                <a:gd name="connsiteX61" fmla="*/ 522706 w 581025"/>
                <a:gd name="connsiteY61" fmla="*/ 454835 h 581025"/>
                <a:gd name="connsiteX62" fmla="*/ 506132 w 581025"/>
                <a:gd name="connsiteY62" fmla="*/ 451025 h 581025"/>
                <a:gd name="connsiteX63" fmla="*/ 485844 w 581025"/>
                <a:gd name="connsiteY63" fmla="*/ 446263 h 581025"/>
                <a:gd name="connsiteX64" fmla="*/ 447744 w 581025"/>
                <a:gd name="connsiteY64" fmla="*/ 484363 h 581025"/>
                <a:gd name="connsiteX65" fmla="*/ 450220 w 581025"/>
                <a:gd name="connsiteY65" fmla="*/ 494936 h 581025"/>
                <a:gd name="connsiteX66" fmla="*/ 456221 w 581025"/>
                <a:gd name="connsiteY66" fmla="*/ 519986 h 581025"/>
                <a:gd name="connsiteX67" fmla="*/ 456221 w 581025"/>
                <a:gd name="connsiteY67" fmla="*/ 533036 h 581025"/>
                <a:gd name="connsiteX68" fmla="*/ 446696 w 581025"/>
                <a:gd name="connsiteY68" fmla="*/ 543227 h 581025"/>
                <a:gd name="connsiteX69" fmla="*/ 435552 w 581025"/>
                <a:gd name="connsiteY69" fmla="*/ 549038 h 581025"/>
                <a:gd name="connsiteX70" fmla="*/ 411930 w 581025"/>
                <a:gd name="connsiteY70" fmla="*/ 560944 h 581025"/>
                <a:gd name="connsiteX71" fmla="*/ 363162 w 581025"/>
                <a:gd name="connsiteY71" fmla="*/ 577613 h 581025"/>
                <a:gd name="connsiteX72" fmla="*/ 340492 w 581025"/>
                <a:gd name="connsiteY72" fmla="*/ 568088 h 581025"/>
                <a:gd name="connsiteX73" fmla="*/ 336016 w 581025"/>
                <a:gd name="connsiteY73" fmla="*/ 560753 h 581025"/>
                <a:gd name="connsiteX74" fmla="*/ 321252 w 581025"/>
                <a:gd name="connsiteY74" fmla="*/ 537036 h 581025"/>
                <a:gd name="connsiteX75" fmla="*/ 305821 w 581025"/>
                <a:gd name="connsiteY75" fmla="*/ 538370 h 581025"/>
                <a:gd name="connsiteX76" fmla="*/ 267721 w 581025"/>
                <a:gd name="connsiteY76" fmla="*/ 537227 h 581025"/>
                <a:gd name="connsiteX77" fmla="*/ 265245 w 581025"/>
                <a:gd name="connsiteY77" fmla="*/ 541132 h 581025"/>
                <a:gd name="connsiteX78" fmla="*/ 247433 w 581025"/>
                <a:gd name="connsiteY78" fmla="*/ 568945 h 581025"/>
                <a:gd name="connsiteX79" fmla="*/ 230764 w 581025"/>
                <a:gd name="connsiteY79" fmla="*/ 578851 h 581025"/>
                <a:gd name="connsiteX80" fmla="*/ 161137 w 581025"/>
                <a:gd name="connsiteY80" fmla="*/ 521701 h 581025"/>
                <a:gd name="connsiteX81" fmla="*/ 173233 w 581025"/>
                <a:gd name="connsiteY81" fmla="*/ 528464 h 581025"/>
                <a:gd name="connsiteX82" fmla="*/ 226383 w 581025"/>
                <a:gd name="connsiteY82" fmla="*/ 549133 h 581025"/>
                <a:gd name="connsiteX83" fmla="*/ 241242 w 581025"/>
                <a:gd name="connsiteY83" fmla="*/ 525797 h 581025"/>
                <a:gd name="connsiteX84" fmla="*/ 243623 w 581025"/>
                <a:gd name="connsiteY84" fmla="*/ 521987 h 581025"/>
                <a:gd name="connsiteX85" fmla="*/ 247719 w 581025"/>
                <a:gd name="connsiteY85" fmla="*/ 515605 h 581025"/>
                <a:gd name="connsiteX86" fmla="*/ 262006 w 581025"/>
                <a:gd name="connsiteY86" fmla="*/ 508271 h 581025"/>
                <a:gd name="connsiteX87" fmla="*/ 263245 w 581025"/>
                <a:gd name="connsiteY87" fmla="*/ 508271 h 581025"/>
                <a:gd name="connsiteX88" fmla="*/ 264483 w 581025"/>
                <a:gd name="connsiteY88" fmla="*/ 508271 h 581025"/>
                <a:gd name="connsiteX89" fmla="*/ 303821 w 581025"/>
                <a:gd name="connsiteY89" fmla="*/ 510176 h 581025"/>
                <a:gd name="connsiteX90" fmla="*/ 320109 w 581025"/>
                <a:gd name="connsiteY90" fmla="*/ 508652 h 581025"/>
                <a:gd name="connsiteX91" fmla="*/ 323062 w 581025"/>
                <a:gd name="connsiteY91" fmla="*/ 508652 h 581025"/>
                <a:gd name="connsiteX92" fmla="*/ 342112 w 581025"/>
                <a:gd name="connsiteY92" fmla="*/ 518177 h 581025"/>
                <a:gd name="connsiteX93" fmla="*/ 359733 w 581025"/>
                <a:gd name="connsiteY93" fmla="*/ 546752 h 581025"/>
                <a:gd name="connsiteX94" fmla="*/ 361447 w 581025"/>
                <a:gd name="connsiteY94" fmla="*/ 549514 h 581025"/>
                <a:gd name="connsiteX95" fmla="*/ 399547 w 581025"/>
                <a:gd name="connsiteY95" fmla="*/ 535988 h 581025"/>
                <a:gd name="connsiteX96" fmla="*/ 421645 w 581025"/>
                <a:gd name="connsiteY96" fmla="*/ 524749 h 581025"/>
                <a:gd name="connsiteX97" fmla="*/ 427456 w 581025"/>
                <a:gd name="connsiteY97" fmla="*/ 521796 h 581025"/>
                <a:gd name="connsiteX98" fmla="*/ 422788 w 581025"/>
                <a:gd name="connsiteY98" fmla="*/ 502175 h 581025"/>
                <a:gd name="connsiteX99" fmla="*/ 418979 w 581025"/>
                <a:gd name="connsiteY99" fmla="*/ 486173 h 581025"/>
                <a:gd name="connsiteX100" fmla="*/ 425646 w 581025"/>
                <a:gd name="connsiteY100" fmla="*/ 467123 h 581025"/>
                <a:gd name="connsiteX101" fmla="*/ 464508 w 581025"/>
                <a:gd name="connsiteY101" fmla="*/ 429023 h 581025"/>
                <a:gd name="connsiteX102" fmla="*/ 491940 w 581025"/>
                <a:gd name="connsiteY102" fmla="*/ 420260 h 581025"/>
                <a:gd name="connsiteX103" fmla="*/ 512133 w 581025"/>
                <a:gd name="connsiteY103" fmla="*/ 425022 h 581025"/>
                <a:gd name="connsiteX104" fmla="*/ 522610 w 581025"/>
                <a:gd name="connsiteY104" fmla="*/ 427403 h 581025"/>
                <a:gd name="connsiteX105" fmla="*/ 549757 w 581025"/>
                <a:gd name="connsiteY105" fmla="*/ 361300 h 581025"/>
                <a:gd name="connsiteX106" fmla="*/ 521182 w 581025"/>
                <a:gd name="connsiteY106" fmla="*/ 344155 h 581025"/>
                <a:gd name="connsiteX107" fmla="*/ 518515 w 581025"/>
                <a:gd name="connsiteY107" fmla="*/ 342345 h 581025"/>
                <a:gd name="connsiteX108" fmla="*/ 517372 w 581025"/>
                <a:gd name="connsiteY108" fmla="*/ 341583 h 581025"/>
                <a:gd name="connsiteX109" fmla="*/ 509180 w 581025"/>
                <a:gd name="connsiteY109" fmla="*/ 322533 h 581025"/>
                <a:gd name="connsiteX110" fmla="*/ 509180 w 581025"/>
                <a:gd name="connsiteY110" fmla="*/ 265955 h 581025"/>
                <a:gd name="connsiteX111" fmla="*/ 518705 w 581025"/>
                <a:gd name="connsiteY111" fmla="*/ 246905 h 581025"/>
                <a:gd name="connsiteX112" fmla="*/ 542327 w 581025"/>
                <a:gd name="connsiteY112" fmla="*/ 231950 h 581025"/>
                <a:gd name="connsiteX113" fmla="*/ 549566 w 581025"/>
                <a:gd name="connsiteY113" fmla="*/ 227283 h 581025"/>
                <a:gd name="connsiteX114" fmla="*/ 533183 w 581025"/>
                <a:gd name="connsiteY114" fmla="*/ 182420 h 581025"/>
                <a:gd name="connsiteX115" fmla="*/ 527182 w 581025"/>
                <a:gd name="connsiteY115" fmla="*/ 170990 h 581025"/>
                <a:gd name="connsiteX116" fmla="*/ 521944 w 581025"/>
                <a:gd name="connsiteY116" fmla="*/ 160894 h 581025"/>
                <a:gd name="connsiteX117" fmla="*/ 486415 w 581025"/>
                <a:gd name="connsiteY117" fmla="*/ 169371 h 581025"/>
                <a:gd name="connsiteX118" fmla="*/ 467365 w 581025"/>
                <a:gd name="connsiteY118" fmla="*/ 163085 h 581025"/>
                <a:gd name="connsiteX119" fmla="*/ 426313 w 581025"/>
                <a:gd name="connsiteY119" fmla="*/ 121937 h 581025"/>
                <a:gd name="connsiteX120" fmla="*/ 418883 w 581025"/>
                <a:gd name="connsiteY120" fmla="*/ 99553 h 581025"/>
                <a:gd name="connsiteX121" fmla="*/ 422693 w 581025"/>
                <a:gd name="connsiteY121" fmla="*/ 82789 h 581025"/>
                <a:gd name="connsiteX122" fmla="*/ 426979 w 581025"/>
                <a:gd name="connsiteY122" fmla="*/ 63739 h 581025"/>
                <a:gd name="connsiteX123" fmla="*/ 393070 w 581025"/>
                <a:gd name="connsiteY123" fmla="*/ 47356 h 581025"/>
                <a:gd name="connsiteX124" fmla="*/ 365734 w 581025"/>
                <a:gd name="connsiteY124" fmla="*/ 38498 h 581025"/>
                <a:gd name="connsiteX125" fmla="*/ 360495 w 581025"/>
                <a:gd name="connsiteY125" fmla="*/ 36878 h 581025"/>
                <a:gd name="connsiteX126" fmla="*/ 349160 w 581025"/>
                <a:gd name="connsiteY126" fmla="*/ 54785 h 581025"/>
                <a:gd name="connsiteX127" fmla="*/ 341921 w 581025"/>
                <a:gd name="connsiteY127" fmla="*/ 66025 h 581025"/>
                <a:gd name="connsiteX128" fmla="*/ 320395 w 581025"/>
                <a:gd name="connsiteY128" fmla="*/ 76598 h 581025"/>
                <a:gd name="connsiteX129" fmla="*/ 264864 w 581025"/>
                <a:gd name="connsiteY129" fmla="*/ 76598 h 581025"/>
                <a:gd name="connsiteX130" fmla="*/ 245147 w 581025"/>
                <a:gd name="connsiteY130" fmla="*/ 67073 h 581025"/>
                <a:gd name="connsiteX131" fmla="*/ 244576 w 581025"/>
                <a:gd name="connsiteY131" fmla="*/ 66120 h 581025"/>
                <a:gd name="connsiteX132" fmla="*/ 230002 w 581025"/>
                <a:gd name="connsiteY132" fmla="*/ 43355 h 581025"/>
                <a:gd name="connsiteX133" fmla="*/ 227145 w 581025"/>
                <a:gd name="connsiteY133" fmla="*/ 38879 h 581025"/>
                <a:gd name="connsiteX134" fmla="*/ 226192 w 581025"/>
                <a:gd name="connsiteY134" fmla="*/ 37450 h 581025"/>
                <a:gd name="connsiteX135" fmla="*/ 221620 w 581025"/>
                <a:gd name="connsiteY135" fmla="*/ 38783 h 581025"/>
                <a:gd name="connsiteX136" fmla="*/ 202570 w 581025"/>
                <a:gd name="connsiteY136" fmla="*/ 44594 h 581025"/>
                <a:gd name="connsiteX137" fmla="*/ 159327 w 581025"/>
                <a:gd name="connsiteY137" fmla="*/ 64691 h 581025"/>
                <a:gd name="connsiteX138" fmla="*/ 159327 w 581025"/>
                <a:gd name="connsiteY138" fmla="*/ 66120 h 581025"/>
                <a:gd name="connsiteX139" fmla="*/ 166852 w 581025"/>
                <a:gd name="connsiteY139" fmla="*/ 97648 h 581025"/>
                <a:gd name="connsiteX140" fmla="*/ 158470 w 581025"/>
                <a:gd name="connsiteY140" fmla="*/ 122413 h 581025"/>
                <a:gd name="connsiteX141" fmla="*/ 127609 w 581025"/>
                <a:gd name="connsiteY141" fmla="*/ 151845 h 581025"/>
                <a:gd name="connsiteX142" fmla="*/ 119893 w 581025"/>
                <a:gd name="connsiteY142" fmla="*/ 161370 h 581025"/>
                <a:gd name="connsiteX143" fmla="*/ 98462 w 581025"/>
                <a:gd name="connsiteY143" fmla="*/ 168323 h 581025"/>
                <a:gd name="connsiteX144" fmla="*/ 63982 w 581025"/>
                <a:gd name="connsiteY144" fmla="*/ 160132 h 581025"/>
                <a:gd name="connsiteX145" fmla="*/ 43122 w 581025"/>
                <a:gd name="connsiteY145" fmla="*/ 205280 h 581025"/>
                <a:gd name="connsiteX146" fmla="*/ 38740 w 581025"/>
                <a:gd name="connsiteY146" fmla="*/ 220330 h 581025"/>
                <a:gd name="connsiteX147" fmla="*/ 36931 w 581025"/>
                <a:gd name="connsiteY147" fmla="*/ 226331 h 581025"/>
                <a:gd name="connsiteX148" fmla="*/ 67887 w 581025"/>
                <a:gd name="connsiteY148" fmla="*/ 245381 h 581025"/>
                <a:gd name="connsiteX149" fmla="*/ 77412 w 581025"/>
                <a:gd name="connsiteY149" fmla="*/ 264431 h 581025"/>
                <a:gd name="connsiteX150" fmla="*/ 76840 w 581025"/>
                <a:gd name="connsiteY150" fmla="*/ 315580 h 581025"/>
                <a:gd name="connsiteX151" fmla="*/ 76840 w 581025"/>
                <a:gd name="connsiteY151" fmla="*/ 317390 h 581025"/>
                <a:gd name="connsiteX152" fmla="*/ 77602 w 581025"/>
                <a:gd name="connsiteY152" fmla="*/ 323009 h 581025"/>
                <a:gd name="connsiteX153" fmla="*/ 68077 w 581025"/>
                <a:gd name="connsiteY153" fmla="*/ 341488 h 581025"/>
                <a:gd name="connsiteX154" fmla="*/ 37026 w 581025"/>
                <a:gd name="connsiteY154" fmla="*/ 360538 h 581025"/>
                <a:gd name="connsiteX155" fmla="*/ 65601 w 581025"/>
                <a:gd name="connsiteY155" fmla="*/ 426737 h 581025"/>
                <a:gd name="connsiteX156" fmla="*/ 101510 w 581025"/>
                <a:gd name="connsiteY156" fmla="*/ 418259 h 581025"/>
                <a:gd name="connsiteX157" fmla="*/ 120560 w 581025"/>
                <a:gd name="connsiteY157" fmla="*/ 425022 h 581025"/>
                <a:gd name="connsiteX158" fmla="*/ 158660 w 581025"/>
                <a:gd name="connsiteY158" fmla="*/ 463122 h 581025"/>
                <a:gd name="connsiteX159" fmla="*/ 168185 w 581025"/>
                <a:gd name="connsiteY159" fmla="*/ 489983 h 581025"/>
                <a:gd name="connsiteX160" fmla="*/ 162470 w 581025"/>
                <a:gd name="connsiteY160" fmla="*/ 514938 h 581025"/>
                <a:gd name="connsiteX161" fmla="*/ 161137 w 581025"/>
                <a:gd name="connsiteY161" fmla="*/ 521701 h 581025"/>
                <a:gd name="connsiteX162" fmla="*/ 537565 w 581025"/>
                <a:gd name="connsiteY162" fmla="*/ 260621 h 581025"/>
                <a:gd name="connsiteX163" fmla="*/ 537565 w 581025"/>
                <a:gd name="connsiteY163" fmla="*/ 261573 h 581025"/>
                <a:gd name="connsiteX164" fmla="*/ 537565 w 581025"/>
                <a:gd name="connsiteY164" fmla="*/ 260621 h 581025"/>
                <a:gd name="connsiteX165" fmla="*/ 489940 w 581025"/>
                <a:gd name="connsiteY165" fmla="*/ 144416 h 581025"/>
                <a:gd name="connsiteX166" fmla="*/ 489940 w 581025"/>
                <a:gd name="connsiteY166" fmla="*/ 144416 h 581025"/>
                <a:gd name="connsiteX167" fmla="*/ 98367 w 581025"/>
                <a:gd name="connsiteY167" fmla="*/ 143273 h 581025"/>
                <a:gd name="connsiteX168" fmla="*/ 97891 w 581025"/>
                <a:gd name="connsiteY168" fmla="*/ 143939 h 581025"/>
                <a:gd name="connsiteX169" fmla="*/ 261721 w 581025"/>
                <a:gd name="connsiteY169" fmla="*/ 49261 h 581025"/>
                <a:gd name="connsiteX170" fmla="*/ 261721 w 581025"/>
                <a:gd name="connsiteY170" fmla="*/ 49261 h 581025"/>
                <a:gd name="connsiteX171" fmla="*/ 234765 w 581025"/>
                <a:gd name="connsiteY171" fmla="*/ 34878 h 581025"/>
                <a:gd name="connsiteX172" fmla="*/ 233622 w 581025"/>
                <a:gd name="connsiteY172" fmla="*/ 34878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581025" h="581025">
                  <a:moveTo>
                    <a:pt x="230764" y="578851"/>
                  </a:moveTo>
                  <a:cubicBezTo>
                    <a:pt x="228757" y="578861"/>
                    <a:pt x="226761" y="578540"/>
                    <a:pt x="224859" y="577898"/>
                  </a:cubicBezTo>
                  <a:cubicBezTo>
                    <a:pt x="202431" y="572340"/>
                    <a:pt x="180727" y="564189"/>
                    <a:pt x="160184" y="553610"/>
                  </a:cubicBezTo>
                  <a:cubicBezTo>
                    <a:pt x="154374" y="550562"/>
                    <a:pt x="148849" y="547228"/>
                    <a:pt x="143420" y="544085"/>
                  </a:cubicBezTo>
                  <a:lnTo>
                    <a:pt x="140753" y="542465"/>
                  </a:lnTo>
                  <a:cubicBezTo>
                    <a:pt x="133223" y="538455"/>
                    <a:pt x="129620" y="529648"/>
                    <a:pt x="132181" y="521510"/>
                  </a:cubicBezTo>
                  <a:cubicBezTo>
                    <a:pt x="133133" y="517510"/>
                    <a:pt x="133990" y="513414"/>
                    <a:pt x="134848" y="509414"/>
                  </a:cubicBezTo>
                  <a:cubicBezTo>
                    <a:pt x="136562" y="501317"/>
                    <a:pt x="138277" y="493031"/>
                    <a:pt x="140467" y="484744"/>
                  </a:cubicBezTo>
                  <a:cubicBezTo>
                    <a:pt x="126468" y="473413"/>
                    <a:pt x="113698" y="460643"/>
                    <a:pt x="102367" y="446644"/>
                  </a:cubicBezTo>
                  <a:lnTo>
                    <a:pt x="68363" y="454645"/>
                  </a:lnTo>
                  <a:cubicBezTo>
                    <a:pt x="58639" y="458661"/>
                    <a:pt x="47500" y="454034"/>
                    <a:pt x="43483" y="444310"/>
                  </a:cubicBezTo>
                  <a:cubicBezTo>
                    <a:pt x="43425" y="444168"/>
                    <a:pt x="43368" y="444025"/>
                    <a:pt x="43312" y="443882"/>
                  </a:cubicBezTo>
                  <a:cubicBezTo>
                    <a:pt x="27402" y="418028"/>
                    <a:pt x="15639" y="389841"/>
                    <a:pt x="8451" y="360347"/>
                  </a:cubicBezTo>
                  <a:cubicBezTo>
                    <a:pt x="5812" y="352335"/>
                    <a:pt x="9358" y="343589"/>
                    <a:pt x="16833" y="339678"/>
                  </a:cubicBezTo>
                  <a:lnTo>
                    <a:pt x="49027" y="319676"/>
                  </a:lnTo>
                  <a:lnTo>
                    <a:pt x="49027" y="317771"/>
                  </a:lnTo>
                  <a:cubicBezTo>
                    <a:pt x="47361" y="300539"/>
                    <a:pt x="47361" y="283186"/>
                    <a:pt x="49027" y="265955"/>
                  </a:cubicBezTo>
                  <a:lnTo>
                    <a:pt x="16547" y="245571"/>
                  </a:lnTo>
                  <a:cubicBezTo>
                    <a:pt x="8719" y="241541"/>
                    <a:pt x="5155" y="232283"/>
                    <a:pt x="8260" y="224045"/>
                  </a:cubicBezTo>
                  <a:cubicBezTo>
                    <a:pt x="9403" y="220425"/>
                    <a:pt x="10737" y="215948"/>
                    <a:pt x="11975" y="211472"/>
                  </a:cubicBezTo>
                  <a:cubicBezTo>
                    <a:pt x="13213" y="206995"/>
                    <a:pt x="15118" y="200708"/>
                    <a:pt x="16738" y="195470"/>
                  </a:cubicBezTo>
                  <a:cubicBezTo>
                    <a:pt x="23406" y="176145"/>
                    <a:pt x="32190" y="157618"/>
                    <a:pt x="42931" y="140225"/>
                  </a:cubicBezTo>
                  <a:cubicBezTo>
                    <a:pt x="46849" y="131467"/>
                    <a:pt x="56920" y="127288"/>
                    <a:pt x="65887" y="130700"/>
                  </a:cubicBezTo>
                  <a:lnTo>
                    <a:pt x="101415" y="139177"/>
                  </a:lnTo>
                  <a:cubicBezTo>
                    <a:pt x="103320" y="136891"/>
                    <a:pt x="105225" y="134795"/>
                    <a:pt x="107130" y="132700"/>
                  </a:cubicBezTo>
                  <a:cubicBezTo>
                    <a:pt x="116925" y="121483"/>
                    <a:pt x="127664" y="111126"/>
                    <a:pt x="139229" y="101744"/>
                  </a:cubicBezTo>
                  <a:cubicBezTo>
                    <a:pt x="136753" y="92219"/>
                    <a:pt x="134467" y="82122"/>
                    <a:pt x="132181" y="72216"/>
                  </a:cubicBezTo>
                  <a:lnTo>
                    <a:pt x="131038" y="67073"/>
                  </a:lnTo>
                  <a:cubicBezTo>
                    <a:pt x="127487" y="57705"/>
                    <a:pt x="131603" y="47170"/>
                    <a:pt x="140563" y="42689"/>
                  </a:cubicBezTo>
                  <a:cubicBezTo>
                    <a:pt x="157297" y="32508"/>
                    <a:pt x="175085" y="24173"/>
                    <a:pt x="193617" y="17828"/>
                  </a:cubicBezTo>
                  <a:cubicBezTo>
                    <a:pt x="200284" y="15542"/>
                    <a:pt x="207047" y="13542"/>
                    <a:pt x="213905" y="11542"/>
                  </a:cubicBezTo>
                  <a:cubicBezTo>
                    <a:pt x="217715" y="10494"/>
                    <a:pt x="221716" y="9351"/>
                    <a:pt x="225526" y="8113"/>
                  </a:cubicBezTo>
                  <a:cubicBezTo>
                    <a:pt x="233953" y="5349"/>
                    <a:pt x="243130" y="9207"/>
                    <a:pt x="247052" y="17162"/>
                  </a:cubicBezTo>
                  <a:cubicBezTo>
                    <a:pt x="248290" y="19352"/>
                    <a:pt x="249719" y="21448"/>
                    <a:pt x="251053" y="23543"/>
                  </a:cubicBezTo>
                  <a:lnTo>
                    <a:pt x="254005" y="28306"/>
                  </a:lnTo>
                  <a:lnTo>
                    <a:pt x="266959" y="48689"/>
                  </a:lnTo>
                  <a:cubicBezTo>
                    <a:pt x="284564" y="46832"/>
                    <a:pt x="302314" y="46832"/>
                    <a:pt x="319918" y="48689"/>
                  </a:cubicBezTo>
                  <a:lnTo>
                    <a:pt x="325443" y="40022"/>
                  </a:lnTo>
                  <a:cubicBezTo>
                    <a:pt x="330205" y="32592"/>
                    <a:pt x="334968" y="25163"/>
                    <a:pt x="339540" y="17733"/>
                  </a:cubicBezTo>
                  <a:cubicBezTo>
                    <a:pt x="343806" y="9130"/>
                    <a:pt x="353809" y="5048"/>
                    <a:pt x="362876" y="8208"/>
                  </a:cubicBezTo>
                  <a:lnTo>
                    <a:pt x="374020" y="11637"/>
                  </a:lnTo>
                  <a:cubicBezTo>
                    <a:pt x="383545" y="14495"/>
                    <a:pt x="393070" y="17447"/>
                    <a:pt x="402595" y="21162"/>
                  </a:cubicBezTo>
                  <a:cubicBezTo>
                    <a:pt x="417725" y="26870"/>
                    <a:pt x="432244" y="34082"/>
                    <a:pt x="445934" y="42689"/>
                  </a:cubicBezTo>
                  <a:cubicBezTo>
                    <a:pt x="454169" y="46903"/>
                    <a:pt x="458186" y="56424"/>
                    <a:pt x="455459" y="65263"/>
                  </a:cubicBezTo>
                  <a:cubicBezTo>
                    <a:pt x="453554" y="73169"/>
                    <a:pt x="451840" y="81074"/>
                    <a:pt x="450030" y="88885"/>
                  </a:cubicBezTo>
                  <a:cubicBezTo>
                    <a:pt x="449077" y="92981"/>
                    <a:pt x="448220" y="97076"/>
                    <a:pt x="447268" y="101172"/>
                  </a:cubicBezTo>
                  <a:cubicBezTo>
                    <a:pt x="461262" y="112508"/>
                    <a:pt x="474032" y="125277"/>
                    <a:pt x="485368" y="139272"/>
                  </a:cubicBezTo>
                  <a:lnTo>
                    <a:pt x="536517" y="127366"/>
                  </a:lnTo>
                  <a:lnTo>
                    <a:pt x="542518" y="137653"/>
                  </a:lnTo>
                  <a:lnTo>
                    <a:pt x="544613" y="141368"/>
                  </a:lnTo>
                  <a:cubicBezTo>
                    <a:pt x="547280" y="146606"/>
                    <a:pt x="549852" y="151655"/>
                    <a:pt x="552519" y="156608"/>
                  </a:cubicBezTo>
                  <a:lnTo>
                    <a:pt x="558805" y="168704"/>
                  </a:lnTo>
                  <a:cubicBezTo>
                    <a:pt x="567667" y="186933"/>
                    <a:pt x="574441" y="206105"/>
                    <a:pt x="578998" y="225854"/>
                  </a:cubicBezTo>
                  <a:cubicBezTo>
                    <a:pt x="581196" y="234189"/>
                    <a:pt x="577211" y="242916"/>
                    <a:pt x="569473" y="246714"/>
                  </a:cubicBezTo>
                  <a:lnTo>
                    <a:pt x="557853" y="254048"/>
                  </a:lnTo>
                  <a:lnTo>
                    <a:pt x="538136" y="266621"/>
                  </a:lnTo>
                  <a:cubicBezTo>
                    <a:pt x="539851" y="284137"/>
                    <a:pt x="539851" y="301779"/>
                    <a:pt x="538136" y="319295"/>
                  </a:cubicBezTo>
                  <a:lnTo>
                    <a:pt x="580237" y="344631"/>
                  </a:lnTo>
                  <a:lnTo>
                    <a:pt x="580237" y="357776"/>
                  </a:lnTo>
                  <a:lnTo>
                    <a:pt x="578998" y="360252"/>
                  </a:lnTo>
                  <a:cubicBezTo>
                    <a:pt x="571636" y="390424"/>
                    <a:pt x="559788" y="419321"/>
                    <a:pt x="543851" y="445977"/>
                  </a:cubicBezTo>
                  <a:cubicBezTo>
                    <a:pt x="539892" y="453676"/>
                    <a:pt x="530970" y="457414"/>
                    <a:pt x="522706" y="454835"/>
                  </a:cubicBezTo>
                  <a:lnTo>
                    <a:pt x="506132" y="451025"/>
                  </a:lnTo>
                  <a:lnTo>
                    <a:pt x="485844" y="446263"/>
                  </a:lnTo>
                  <a:cubicBezTo>
                    <a:pt x="474457" y="460212"/>
                    <a:pt x="461693" y="472976"/>
                    <a:pt x="447744" y="484363"/>
                  </a:cubicBezTo>
                  <a:cubicBezTo>
                    <a:pt x="448601" y="487887"/>
                    <a:pt x="449363" y="491411"/>
                    <a:pt x="450220" y="494936"/>
                  </a:cubicBezTo>
                  <a:cubicBezTo>
                    <a:pt x="452221" y="503318"/>
                    <a:pt x="454126" y="511795"/>
                    <a:pt x="456221" y="519986"/>
                  </a:cubicBezTo>
                  <a:cubicBezTo>
                    <a:pt x="457757" y="524201"/>
                    <a:pt x="457757" y="528822"/>
                    <a:pt x="456221" y="533036"/>
                  </a:cubicBezTo>
                  <a:cubicBezTo>
                    <a:pt x="454449" y="537515"/>
                    <a:pt x="451046" y="541157"/>
                    <a:pt x="446696" y="543227"/>
                  </a:cubicBezTo>
                  <a:lnTo>
                    <a:pt x="435552" y="549038"/>
                  </a:lnTo>
                  <a:cubicBezTo>
                    <a:pt x="427932" y="553038"/>
                    <a:pt x="420026" y="557229"/>
                    <a:pt x="411930" y="560944"/>
                  </a:cubicBezTo>
                  <a:cubicBezTo>
                    <a:pt x="396225" y="567999"/>
                    <a:pt x="379899" y="573579"/>
                    <a:pt x="363162" y="577613"/>
                  </a:cubicBezTo>
                  <a:cubicBezTo>
                    <a:pt x="354275" y="580947"/>
                    <a:pt x="344330" y="576769"/>
                    <a:pt x="340492" y="568088"/>
                  </a:cubicBezTo>
                  <a:lnTo>
                    <a:pt x="336016" y="560753"/>
                  </a:lnTo>
                  <a:cubicBezTo>
                    <a:pt x="331063" y="552848"/>
                    <a:pt x="326491" y="544942"/>
                    <a:pt x="321252" y="537036"/>
                  </a:cubicBezTo>
                  <a:cubicBezTo>
                    <a:pt x="316108" y="537608"/>
                    <a:pt x="310965" y="538084"/>
                    <a:pt x="305821" y="538370"/>
                  </a:cubicBezTo>
                  <a:cubicBezTo>
                    <a:pt x="293113" y="539139"/>
                    <a:pt x="280361" y="538756"/>
                    <a:pt x="267721" y="537227"/>
                  </a:cubicBezTo>
                  <a:cubicBezTo>
                    <a:pt x="266864" y="538560"/>
                    <a:pt x="266102" y="539894"/>
                    <a:pt x="265245" y="541132"/>
                  </a:cubicBezTo>
                  <a:lnTo>
                    <a:pt x="247433" y="568945"/>
                  </a:lnTo>
                  <a:cubicBezTo>
                    <a:pt x="244099" y="575039"/>
                    <a:pt x="237711" y="578835"/>
                    <a:pt x="230764" y="578851"/>
                  </a:cubicBezTo>
                  <a:close/>
                  <a:moveTo>
                    <a:pt x="161137" y="521701"/>
                  </a:moveTo>
                  <a:cubicBezTo>
                    <a:pt x="165042" y="523987"/>
                    <a:pt x="169042" y="526368"/>
                    <a:pt x="173233" y="528464"/>
                  </a:cubicBezTo>
                  <a:cubicBezTo>
                    <a:pt x="190191" y="537164"/>
                    <a:pt x="208002" y="544091"/>
                    <a:pt x="226383" y="549133"/>
                  </a:cubicBezTo>
                  <a:lnTo>
                    <a:pt x="241242" y="525797"/>
                  </a:lnTo>
                  <a:lnTo>
                    <a:pt x="243623" y="521987"/>
                  </a:lnTo>
                  <a:cubicBezTo>
                    <a:pt x="244957" y="519796"/>
                    <a:pt x="246290" y="517700"/>
                    <a:pt x="247719" y="515605"/>
                  </a:cubicBezTo>
                  <a:cubicBezTo>
                    <a:pt x="251115" y="511110"/>
                    <a:pt x="256375" y="508410"/>
                    <a:pt x="262006" y="508271"/>
                  </a:cubicBezTo>
                  <a:lnTo>
                    <a:pt x="263245" y="508271"/>
                  </a:lnTo>
                  <a:lnTo>
                    <a:pt x="264483" y="508271"/>
                  </a:lnTo>
                  <a:cubicBezTo>
                    <a:pt x="277492" y="510287"/>
                    <a:pt x="290678" y="510925"/>
                    <a:pt x="303821" y="510176"/>
                  </a:cubicBezTo>
                  <a:cubicBezTo>
                    <a:pt x="309346" y="510176"/>
                    <a:pt x="314680" y="509223"/>
                    <a:pt x="320109" y="508652"/>
                  </a:cubicBezTo>
                  <a:lnTo>
                    <a:pt x="323062" y="508652"/>
                  </a:lnTo>
                  <a:cubicBezTo>
                    <a:pt x="330806" y="507358"/>
                    <a:pt x="338500" y="511206"/>
                    <a:pt x="342112" y="518177"/>
                  </a:cubicBezTo>
                  <a:cubicBezTo>
                    <a:pt x="347922" y="527702"/>
                    <a:pt x="353827" y="537227"/>
                    <a:pt x="359733" y="546752"/>
                  </a:cubicBezTo>
                  <a:lnTo>
                    <a:pt x="361447" y="549514"/>
                  </a:lnTo>
                  <a:cubicBezTo>
                    <a:pt x="374507" y="546090"/>
                    <a:pt x="387252" y="541565"/>
                    <a:pt x="399547" y="535988"/>
                  </a:cubicBezTo>
                  <a:cubicBezTo>
                    <a:pt x="406882" y="532559"/>
                    <a:pt x="414025" y="528749"/>
                    <a:pt x="421645" y="524749"/>
                  </a:cubicBezTo>
                  <a:lnTo>
                    <a:pt x="427456" y="521796"/>
                  </a:lnTo>
                  <a:cubicBezTo>
                    <a:pt x="425836" y="515319"/>
                    <a:pt x="424312" y="508747"/>
                    <a:pt x="422788" y="502175"/>
                  </a:cubicBezTo>
                  <a:cubicBezTo>
                    <a:pt x="421264" y="495602"/>
                    <a:pt x="420217" y="491507"/>
                    <a:pt x="418979" y="486173"/>
                  </a:cubicBezTo>
                  <a:cubicBezTo>
                    <a:pt x="417098" y="479057"/>
                    <a:pt x="419738" y="471513"/>
                    <a:pt x="425646" y="467123"/>
                  </a:cubicBezTo>
                  <a:cubicBezTo>
                    <a:pt x="440038" y="455977"/>
                    <a:pt x="453080" y="443191"/>
                    <a:pt x="464508" y="429023"/>
                  </a:cubicBezTo>
                  <a:cubicBezTo>
                    <a:pt x="470670" y="420304"/>
                    <a:pt x="481865" y="416728"/>
                    <a:pt x="491940" y="420260"/>
                  </a:cubicBezTo>
                  <a:cubicBezTo>
                    <a:pt x="498607" y="421974"/>
                    <a:pt x="505370" y="423498"/>
                    <a:pt x="512133" y="425022"/>
                  </a:cubicBezTo>
                  <a:lnTo>
                    <a:pt x="522610" y="427403"/>
                  </a:lnTo>
                  <a:cubicBezTo>
                    <a:pt x="534492" y="406641"/>
                    <a:pt x="543618" y="384420"/>
                    <a:pt x="549757" y="361300"/>
                  </a:cubicBezTo>
                  <a:lnTo>
                    <a:pt x="521182" y="344155"/>
                  </a:lnTo>
                  <a:cubicBezTo>
                    <a:pt x="520229" y="343651"/>
                    <a:pt x="519335" y="343044"/>
                    <a:pt x="518515" y="342345"/>
                  </a:cubicBezTo>
                  <a:lnTo>
                    <a:pt x="517372" y="341583"/>
                  </a:lnTo>
                  <a:cubicBezTo>
                    <a:pt x="511122" y="337406"/>
                    <a:pt x="507913" y="329943"/>
                    <a:pt x="509180" y="322533"/>
                  </a:cubicBezTo>
                  <a:cubicBezTo>
                    <a:pt x="511371" y="303737"/>
                    <a:pt x="511371" y="284751"/>
                    <a:pt x="509180" y="265955"/>
                  </a:cubicBezTo>
                  <a:cubicBezTo>
                    <a:pt x="508008" y="258229"/>
                    <a:pt x="511822" y="250602"/>
                    <a:pt x="518705" y="246905"/>
                  </a:cubicBezTo>
                  <a:lnTo>
                    <a:pt x="542327" y="231950"/>
                  </a:lnTo>
                  <a:lnTo>
                    <a:pt x="549566" y="227283"/>
                  </a:lnTo>
                  <a:cubicBezTo>
                    <a:pt x="545632" y="211815"/>
                    <a:pt x="540144" y="196784"/>
                    <a:pt x="533183" y="182420"/>
                  </a:cubicBezTo>
                  <a:lnTo>
                    <a:pt x="527182" y="170990"/>
                  </a:lnTo>
                  <a:cubicBezTo>
                    <a:pt x="525468" y="167657"/>
                    <a:pt x="523658" y="164323"/>
                    <a:pt x="521944" y="160894"/>
                  </a:cubicBezTo>
                  <a:lnTo>
                    <a:pt x="486415" y="169371"/>
                  </a:lnTo>
                  <a:cubicBezTo>
                    <a:pt x="479375" y="171476"/>
                    <a:pt x="471770" y="168966"/>
                    <a:pt x="467365" y="163085"/>
                  </a:cubicBezTo>
                  <a:cubicBezTo>
                    <a:pt x="455477" y="147687"/>
                    <a:pt x="441682" y="133861"/>
                    <a:pt x="426313" y="121937"/>
                  </a:cubicBezTo>
                  <a:cubicBezTo>
                    <a:pt x="418960" y="117090"/>
                    <a:pt x="415888" y="107834"/>
                    <a:pt x="418883" y="99553"/>
                  </a:cubicBezTo>
                  <a:cubicBezTo>
                    <a:pt x="420217" y="93933"/>
                    <a:pt x="421455" y="88409"/>
                    <a:pt x="422693" y="82789"/>
                  </a:cubicBezTo>
                  <a:lnTo>
                    <a:pt x="426979" y="63739"/>
                  </a:lnTo>
                  <a:cubicBezTo>
                    <a:pt x="416191" y="57271"/>
                    <a:pt x="404842" y="51788"/>
                    <a:pt x="393070" y="47356"/>
                  </a:cubicBezTo>
                  <a:cubicBezTo>
                    <a:pt x="384212" y="44117"/>
                    <a:pt x="375259" y="41355"/>
                    <a:pt x="365734" y="38498"/>
                  </a:cubicBezTo>
                  <a:lnTo>
                    <a:pt x="360495" y="36878"/>
                  </a:lnTo>
                  <a:lnTo>
                    <a:pt x="349160" y="54785"/>
                  </a:lnTo>
                  <a:lnTo>
                    <a:pt x="341921" y="66025"/>
                  </a:lnTo>
                  <a:cubicBezTo>
                    <a:pt x="337754" y="73799"/>
                    <a:pt x="329095" y="78052"/>
                    <a:pt x="320395" y="76598"/>
                  </a:cubicBezTo>
                  <a:cubicBezTo>
                    <a:pt x="301952" y="74359"/>
                    <a:pt x="283306" y="74359"/>
                    <a:pt x="264864" y="76598"/>
                  </a:cubicBezTo>
                  <a:cubicBezTo>
                    <a:pt x="256941" y="77894"/>
                    <a:pt x="249056" y="74085"/>
                    <a:pt x="245147" y="67073"/>
                  </a:cubicBezTo>
                  <a:lnTo>
                    <a:pt x="244576" y="66120"/>
                  </a:lnTo>
                  <a:lnTo>
                    <a:pt x="230002" y="43355"/>
                  </a:lnTo>
                  <a:lnTo>
                    <a:pt x="227145" y="38879"/>
                  </a:lnTo>
                  <a:lnTo>
                    <a:pt x="226192" y="37450"/>
                  </a:lnTo>
                  <a:lnTo>
                    <a:pt x="221620" y="38783"/>
                  </a:lnTo>
                  <a:cubicBezTo>
                    <a:pt x="215334" y="40593"/>
                    <a:pt x="208952" y="42403"/>
                    <a:pt x="202570" y="44594"/>
                  </a:cubicBezTo>
                  <a:cubicBezTo>
                    <a:pt x="187534" y="49865"/>
                    <a:pt x="173051" y="56596"/>
                    <a:pt x="159327" y="64691"/>
                  </a:cubicBezTo>
                  <a:lnTo>
                    <a:pt x="159327" y="66120"/>
                  </a:lnTo>
                  <a:cubicBezTo>
                    <a:pt x="161708" y="76693"/>
                    <a:pt x="164089" y="87170"/>
                    <a:pt x="166852" y="97648"/>
                  </a:cubicBezTo>
                  <a:cubicBezTo>
                    <a:pt x="169639" y="106846"/>
                    <a:pt x="166271" y="116799"/>
                    <a:pt x="158470" y="122413"/>
                  </a:cubicBezTo>
                  <a:cubicBezTo>
                    <a:pt x="147320" y="131278"/>
                    <a:pt x="136992" y="141128"/>
                    <a:pt x="127609" y="151845"/>
                  </a:cubicBezTo>
                  <a:cubicBezTo>
                    <a:pt x="124656" y="155084"/>
                    <a:pt x="122275" y="157941"/>
                    <a:pt x="119893" y="161370"/>
                  </a:cubicBezTo>
                  <a:cubicBezTo>
                    <a:pt x="114925" y="167967"/>
                    <a:pt x="106357" y="170747"/>
                    <a:pt x="98462" y="168323"/>
                  </a:cubicBezTo>
                  <a:lnTo>
                    <a:pt x="63982" y="160132"/>
                  </a:lnTo>
                  <a:cubicBezTo>
                    <a:pt x="55554" y="174455"/>
                    <a:pt x="48566" y="189579"/>
                    <a:pt x="43122" y="205280"/>
                  </a:cubicBezTo>
                  <a:cubicBezTo>
                    <a:pt x="41693" y="210043"/>
                    <a:pt x="40169" y="214805"/>
                    <a:pt x="38740" y="220330"/>
                  </a:cubicBezTo>
                  <a:cubicBezTo>
                    <a:pt x="38074" y="222330"/>
                    <a:pt x="37502" y="224330"/>
                    <a:pt x="36931" y="226331"/>
                  </a:cubicBezTo>
                  <a:lnTo>
                    <a:pt x="67887" y="245381"/>
                  </a:lnTo>
                  <a:cubicBezTo>
                    <a:pt x="74814" y="249036"/>
                    <a:pt x="78644" y="256696"/>
                    <a:pt x="77412" y="264431"/>
                  </a:cubicBezTo>
                  <a:cubicBezTo>
                    <a:pt x="75412" y="281412"/>
                    <a:pt x="75221" y="298558"/>
                    <a:pt x="76840" y="315580"/>
                  </a:cubicBezTo>
                  <a:cubicBezTo>
                    <a:pt x="76809" y="316183"/>
                    <a:pt x="76809" y="316787"/>
                    <a:pt x="76840" y="317390"/>
                  </a:cubicBezTo>
                  <a:cubicBezTo>
                    <a:pt x="77234" y="319241"/>
                    <a:pt x="77488" y="321120"/>
                    <a:pt x="77602" y="323009"/>
                  </a:cubicBezTo>
                  <a:cubicBezTo>
                    <a:pt x="78724" y="330575"/>
                    <a:pt x="74890" y="338012"/>
                    <a:pt x="68077" y="341488"/>
                  </a:cubicBezTo>
                  <a:lnTo>
                    <a:pt x="37026" y="360538"/>
                  </a:lnTo>
                  <a:cubicBezTo>
                    <a:pt x="43510" y="383796"/>
                    <a:pt x="53123" y="406066"/>
                    <a:pt x="65601" y="426737"/>
                  </a:cubicBezTo>
                  <a:lnTo>
                    <a:pt x="101510" y="418259"/>
                  </a:lnTo>
                  <a:cubicBezTo>
                    <a:pt x="108652" y="416225"/>
                    <a:pt x="116299" y="418940"/>
                    <a:pt x="120560" y="425022"/>
                  </a:cubicBezTo>
                  <a:cubicBezTo>
                    <a:pt x="131724" y="439171"/>
                    <a:pt x="144512" y="451959"/>
                    <a:pt x="158660" y="463122"/>
                  </a:cubicBezTo>
                  <a:cubicBezTo>
                    <a:pt x="167460" y="468957"/>
                    <a:pt x="171343" y="479907"/>
                    <a:pt x="168185" y="489983"/>
                  </a:cubicBezTo>
                  <a:cubicBezTo>
                    <a:pt x="166090" y="498079"/>
                    <a:pt x="164280" y="506270"/>
                    <a:pt x="162470" y="514938"/>
                  </a:cubicBezTo>
                  <a:cubicBezTo>
                    <a:pt x="161994" y="517415"/>
                    <a:pt x="161613" y="519510"/>
                    <a:pt x="161137" y="521701"/>
                  </a:cubicBezTo>
                  <a:close/>
                  <a:moveTo>
                    <a:pt x="537565" y="260621"/>
                  </a:moveTo>
                  <a:cubicBezTo>
                    <a:pt x="537565" y="260621"/>
                    <a:pt x="537565" y="261287"/>
                    <a:pt x="537565" y="261573"/>
                  </a:cubicBezTo>
                  <a:cubicBezTo>
                    <a:pt x="537565" y="261859"/>
                    <a:pt x="537660" y="260906"/>
                    <a:pt x="537565" y="260621"/>
                  </a:cubicBezTo>
                  <a:close/>
                  <a:moveTo>
                    <a:pt x="489940" y="144416"/>
                  </a:moveTo>
                  <a:lnTo>
                    <a:pt x="489940" y="144416"/>
                  </a:lnTo>
                  <a:close/>
                  <a:moveTo>
                    <a:pt x="98367" y="143273"/>
                  </a:moveTo>
                  <a:lnTo>
                    <a:pt x="97891" y="143939"/>
                  </a:lnTo>
                  <a:close/>
                  <a:moveTo>
                    <a:pt x="261721" y="49261"/>
                  </a:moveTo>
                  <a:lnTo>
                    <a:pt x="261721" y="49261"/>
                  </a:lnTo>
                  <a:close/>
                  <a:moveTo>
                    <a:pt x="234765" y="34878"/>
                  </a:moveTo>
                  <a:lnTo>
                    <a:pt x="233622" y="3487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540">
              <a:extLst>
                <a:ext uri="{FF2B5EF4-FFF2-40B4-BE49-F238E27FC236}">
                  <a16:creationId xmlns:a16="http://schemas.microsoft.com/office/drawing/2014/main" id="{EAD26959-20A0-4A49-B329-93CEAD69C098}"/>
                </a:ext>
              </a:extLst>
            </p:cNvPr>
            <p:cNvSpPr/>
            <p:nvPr/>
          </p:nvSpPr>
          <p:spPr>
            <a:xfrm>
              <a:off x="3268599" y="4990148"/>
              <a:ext cx="190500" cy="190500"/>
            </a:xfrm>
            <a:custGeom>
              <a:avLst/>
              <a:gdLst>
                <a:gd name="connsiteX0" fmla="*/ 98774 w 190500"/>
                <a:gd name="connsiteY0" fmla="*/ 190214 h 190500"/>
                <a:gd name="connsiteX1" fmla="*/ 7144 w 190500"/>
                <a:gd name="connsiteY1" fmla="*/ 98774 h 190500"/>
                <a:gd name="connsiteX2" fmla="*/ 98584 w 190500"/>
                <a:gd name="connsiteY2" fmla="*/ 7144 h 190500"/>
                <a:gd name="connsiteX3" fmla="*/ 190214 w 190500"/>
                <a:gd name="connsiteY3" fmla="*/ 98584 h 190500"/>
                <a:gd name="connsiteX4" fmla="*/ 190214 w 190500"/>
                <a:gd name="connsiteY4" fmla="*/ 98679 h 190500"/>
                <a:gd name="connsiteX5" fmla="*/ 98774 w 190500"/>
                <a:gd name="connsiteY5" fmla="*/ 190214 h 190500"/>
                <a:gd name="connsiteX6" fmla="*/ 98774 w 190500"/>
                <a:gd name="connsiteY6" fmla="*/ 35433 h 190500"/>
                <a:gd name="connsiteX7" fmla="*/ 35528 w 190500"/>
                <a:gd name="connsiteY7" fmla="*/ 98679 h 190500"/>
                <a:gd name="connsiteX8" fmla="*/ 98774 w 190500"/>
                <a:gd name="connsiteY8" fmla="*/ 161925 h 190500"/>
                <a:gd name="connsiteX9" fmla="*/ 162020 w 190500"/>
                <a:gd name="connsiteY9" fmla="*/ 98679 h 190500"/>
                <a:gd name="connsiteX10" fmla="*/ 98774 w 190500"/>
                <a:gd name="connsiteY10" fmla="*/ 35433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0500" h="190500">
                  <a:moveTo>
                    <a:pt x="98774" y="190214"/>
                  </a:moveTo>
                  <a:cubicBezTo>
                    <a:pt x="48221" y="190267"/>
                    <a:pt x="7196" y="149328"/>
                    <a:pt x="7144" y="98774"/>
                  </a:cubicBezTo>
                  <a:cubicBezTo>
                    <a:pt x="7091" y="48221"/>
                    <a:pt x="48030" y="7196"/>
                    <a:pt x="98584" y="7144"/>
                  </a:cubicBezTo>
                  <a:cubicBezTo>
                    <a:pt x="149137" y="7091"/>
                    <a:pt x="190162" y="48030"/>
                    <a:pt x="190214" y="98584"/>
                  </a:cubicBezTo>
                  <a:cubicBezTo>
                    <a:pt x="190214" y="98616"/>
                    <a:pt x="190214" y="98647"/>
                    <a:pt x="190214" y="98679"/>
                  </a:cubicBezTo>
                  <a:cubicBezTo>
                    <a:pt x="190214" y="149195"/>
                    <a:pt x="149291" y="190162"/>
                    <a:pt x="98774" y="190214"/>
                  </a:cubicBezTo>
                  <a:close/>
                  <a:moveTo>
                    <a:pt x="98774" y="35433"/>
                  </a:moveTo>
                  <a:cubicBezTo>
                    <a:pt x="63844" y="35433"/>
                    <a:pt x="35528" y="63749"/>
                    <a:pt x="35528" y="98679"/>
                  </a:cubicBezTo>
                  <a:cubicBezTo>
                    <a:pt x="35528" y="133609"/>
                    <a:pt x="63844" y="161925"/>
                    <a:pt x="98774" y="161925"/>
                  </a:cubicBezTo>
                  <a:cubicBezTo>
                    <a:pt x="133704" y="161925"/>
                    <a:pt x="162020" y="133609"/>
                    <a:pt x="162020" y="98679"/>
                  </a:cubicBezTo>
                  <a:cubicBezTo>
                    <a:pt x="162020" y="63749"/>
                    <a:pt x="133704" y="35433"/>
                    <a:pt x="98774" y="3543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541">
              <a:extLst>
                <a:ext uri="{FF2B5EF4-FFF2-40B4-BE49-F238E27FC236}">
                  <a16:creationId xmlns:a16="http://schemas.microsoft.com/office/drawing/2014/main" id="{44998D4F-BE8C-D04A-B4B9-05C729EE3524}"/>
                </a:ext>
              </a:extLst>
            </p:cNvPr>
            <p:cNvSpPr/>
            <p:nvPr/>
          </p:nvSpPr>
          <p:spPr>
            <a:xfrm>
              <a:off x="3513157" y="4564724"/>
              <a:ext cx="400050" cy="400050"/>
            </a:xfrm>
            <a:custGeom>
              <a:avLst/>
              <a:gdLst>
                <a:gd name="connsiteX0" fmla="*/ 193115 w 400050"/>
                <a:gd name="connsiteY0" fmla="*/ 397801 h 400050"/>
                <a:gd name="connsiteX1" fmla="*/ 191210 w 400050"/>
                <a:gd name="connsiteY1" fmla="*/ 397801 h 400050"/>
                <a:gd name="connsiteX2" fmla="*/ 146062 w 400050"/>
                <a:gd name="connsiteY2" fmla="*/ 389705 h 400050"/>
                <a:gd name="connsiteX3" fmla="*/ 133584 w 400050"/>
                <a:gd name="connsiteY3" fmla="*/ 385418 h 400050"/>
                <a:gd name="connsiteX4" fmla="*/ 131489 w 400050"/>
                <a:gd name="connsiteY4" fmla="*/ 384656 h 400050"/>
                <a:gd name="connsiteX5" fmla="*/ 122726 w 400050"/>
                <a:gd name="connsiteY5" fmla="*/ 371226 h 400050"/>
                <a:gd name="connsiteX6" fmla="*/ 123678 w 400050"/>
                <a:gd name="connsiteY6" fmla="*/ 346652 h 400050"/>
                <a:gd name="connsiteX7" fmla="*/ 96056 w 400050"/>
                <a:gd name="connsiteY7" fmla="*/ 327602 h 400050"/>
                <a:gd name="connsiteX8" fmla="*/ 75196 w 400050"/>
                <a:gd name="connsiteY8" fmla="*/ 337127 h 400050"/>
                <a:gd name="connsiteX9" fmla="*/ 56146 w 400050"/>
                <a:gd name="connsiteY9" fmla="*/ 333126 h 400050"/>
                <a:gd name="connsiteX10" fmla="*/ 23189 w 400050"/>
                <a:gd name="connsiteY10" fmla="*/ 281786 h 400050"/>
                <a:gd name="connsiteX11" fmla="*/ 26618 w 400050"/>
                <a:gd name="connsiteY11" fmla="*/ 265975 h 400050"/>
                <a:gd name="connsiteX12" fmla="*/ 35381 w 400050"/>
                <a:gd name="connsiteY12" fmla="*/ 258069 h 400050"/>
                <a:gd name="connsiteX13" fmla="*/ 44906 w 400050"/>
                <a:gd name="connsiteY13" fmla="*/ 249687 h 400050"/>
                <a:gd name="connsiteX14" fmla="*/ 44906 w 400050"/>
                <a:gd name="connsiteY14" fmla="*/ 249687 h 400050"/>
                <a:gd name="connsiteX15" fmla="*/ 38810 w 400050"/>
                <a:gd name="connsiteY15" fmla="*/ 216064 h 400050"/>
                <a:gd name="connsiteX16" fmla="*/ 16046 w 400050"/>
                <a:gd name="connsiteY16" fmla="*/ 206539 h 400050"/>
                <a:gd name="connsiteX17" fmla="*/ 7378 w 400050"/>
                <a:gd name="connsiteY17" fmla="*/ 191870 h 400050"/>
                <a:gd name="connsiteX18" fmla="*/ 8140 w 400050"/>
                <a:gd name="connsiteY18" fmla="*/ 183965 h 400050"/>
                <a:gd name="connsiteX19" fmla="*/ 9569 w 400050"/>
                <a:gd name="connsiteY19" fmla="*/ 172344 h 400050"/>
                <a:gd name="connsiteX20" fmla="*/ 19665 w 400050"/>
                <a:gd name="connsiteY20" fmla="*/ 133101 h 400050"/>
                <a:gd name="connsiteX21" fmla="*/ 34810 w 400050"/>
                <a:gd name="connsiteY21" fmla="*/ 123576 h 400050"/>
                <a:gd name="connsiteX22" fmla="*/ 58051 w 400050"/>
                <a:gd name="connsiteY22" fmla="*/ 124529 h 400050"/>
                <a:gd name="connsiteX23" fmla="*/ 60432 w 400050"/>
                <a:gd name="connsiteY23" fmla="*/ 120528 h 400050"/>
                <a:gd name="connsiteX24" fmla="*/ 77482 w 400050"/>
                <a:gd name="connsiteY24" fmla="*/ 96620 h 400050"/>
                <a:gd name="connsiteX25" fmla="*/ 72053 w 400050"/>
                <a:gd name="connsiteY25" fmla="*/ 84143 h 400050"/>
                <a:gd name="connsiteX26" fmla="*/ 68243 w 400050"/>
                <a:gd name="connsiteY26" fmla="*/ 74618 h 400050"/>
                <a:gd name="connsiteX27" fmla="*/ 72529 w 400050"/>
                <a:gd name="connsiteY27" fmla="*/ 55568 h 400050"/>
                <a:gd name="connsiteX28" fmla="*/ 103580 w 400050"/>
                <a:gd name="connsiteY28" fmla="*/ 33184 h 400050"/>
                <a:gd name="connsiteX29" fmla="*/ 122630 w 400050"/>
                <a:gd name="connsiteY29" fmla="*/ 23659 h 400050"/>
                <a:gd name="connsiteX30" fmla="*/ 139490 w 400050"/>
                <a:gd name="connsiteY30" fmla="*/ 27564 h 400050"/>
                <a:gd name="connsiteX31" fmla="*/ 145014 w 400050"/>
                <a:gd name="connsiteY31" fmla="*/ 33470 h 400050"/>
                <a:gd name="connsiteX32" fmla="*/ 155396 w 400050"/>
                <a:gd name="connsiteY32" fmla="*/ 44804 h 400050"/>
                <a:gd name="connsiteX33" fmla="*/ 188734 w 400050"/>
                <a:gd name="connsiteY33" fmla="*/ 38613 h 400050"/>
                <a:gd name="connsiteX34" fmla="*/ 191496 w 400050"/>
                <a:gd name="connsiteY34" fmla="*/ 31755 h 400050"/>
                <a:gd name="connsiteX35" fmla="*/ 197687 w 400050"/>
                <a:gd name="connsiteY35" fmla="*/ 16420 h 400050"/>
                <a:gd name="connsiteX36" fmla="*/ 212832 w 400050"/>
                <a:gd name="connsiteY36" fmla="*/ 7371 h 400050"/>
                <a:gd name="connsiteX37" fmla="*/ 220166 w 400050"/>
                <a:gd name="connsiteY37" fmla="*/ 8133 h 400050"/>
                <a:gd name="connsiteX38" fmla="*/ 240645 w 400050"/>
                <a:gd name="connsiteY38" fmla="*/ 10895 h 400050"/>
                <a:gd name="connsiteX39" fmla="*/ 271697 w 400050"/>
                <a:gd name="connsiteY39" fmla="*/ 19849 h 400050"/>
                <a:gd name="connsiteX40" fmla="*/ 281222 w 400050"/>
                <a:gd name="connsiteY40" fmla="*/ 34803 h 400050"/>
                <a:gd name="connsiteX41" fmla="*/ 280460 w 400050"/>
                <a:gd name="connsiteY41" fmla="*/ 51377 h 400050"/>
                <a:gd name="connsiteX42" fmla="*/ 280460 w 400050"/>
                <a:gd name="connsiteY42" fmla="*/ 58616 h 400050"/>
                <a:gd name="connsiteX43" fmla="*/ 308463 w 400050"/>
                <a:gd name="connsiteY43" fmla="*/ 77666 h 400050"/>
                <a:gd name="connsiteX44" fmla="*/ 340372 w 400050"/>
                <a:gd name="connsiteY44" fmla="*/ 64426 h 400050"/>
                <a:gd name="connsiteX45" fmla="*/ 345420 w 400050"/>
                <a:gd name="connsiteY45" fmla="*/ 70141 h 400050"/>
                <a:gd name="connsiteX46" fmla="*/ 348087 w 400050"/>
                <a:gd name="connsiteY46" fmla="*/ 73094 h 400050"/>
                <a:gd name="connsiteX47" fmla="*/ 352564 w 400050"/>
                <a:gd name="connsiteY47" fmla="*/ 78713 h 400050"/>
                <a:gd name="connsiteX48" fmla="*/ 360755 w 400050"/>
                <a:gd name="connsiteY48" fmla="*/ 89477 h 400050"/>
                <a:gd name="connsiteX49" fmla="*/ 380853 w 400050"/>
                <a:gd name="connsiteY49" fmla="*/ 124529 h 400050"/>
                <a:gd name="connsiteX50" fmla="*/ 376853 w 400050"/>
                <a:gd name="connsiteY50" fmla="*/ 140626 h 400050"/>
                <a:gd name="connsiteX51" fmla="*/ 371995 w 400050"/>
                <a:gd name="connsiteY51" fmla="*/ 145103 h 400050"/>
                <a:gd name="connsiteX52" fmla="*/ 359517 w 400050"/>
                <a:gd name="connsiteY52" fmla="*/ 156723 h 400050"/>
                <a:gd name="connsiteX53" fmla="*/ 365804 w 400050"/>
                <a:gd name="connsiteY53" fmla="*/ 189775 h 400050"/>
                <a:gd name="connsiteX54" fmla="*/ 397903 w 400050"/>
                <a:gd name="connsiteY54" fmla="*/ 201395 h 400050"/>
                <a:gd name="connsiteX55" fmla="*/ 397903 w 400050"/>
                <a:gd name="connsiteY55" fmla="*/ 210920 h 400050"/>
                <a:gd name="connsiteX56" fmla="*/ 385139 w 400050"/>
                <a:gd name="connsiteY56" fmla="*/ 272166 h 400050"/>
                <a:gd name="connsiteX57" fmla="*/ 371233 w 400050"/>
                <a:gd name="connsiteY57" fmla="*/ 281691 h 400050"/>
                <a:gd name="connsiteX58" fmla="*/ 361708 w 400050"/>
                <a:gd name="connsiteY58" fmla="*/ 281691 h 400050"/>
                <a:gd name="connsiteX59" fmla="*/ 346658 w 400050"/>
                <a:gd name="connsiteY59" fmla="*/ 280929 h 400050"/>
                <a:gd name="connsiteX60" fmla="*/ 327608 w 400050"/>
                <a:gd name="connsiteY60" fmla="*/ 308742 h 400050"/>
                <a:gd name="connsiteX61" fmla="*/ 330466 w 400050"/>
                <a:gd name="connsiteY61" fmla="*/ 315124 h 400050"/>
                <a:gd name="connsiteX62" fmla="*/ 337229 w 400050"/>
                <a:gd name="connsiteY62" fmla="*/ 330459 h 400050"/>
                <a:gd name="connsiteX63" fmla="*/ 338562 w 400050"/>
                <a:gd name="connsiteY63" fmla="*/ 339984 h 400050"/>
                <a:gd name="connsiteX64" fmla="*/ 333038 w 400050"/>
                <a:gd name="connsiteY64" fmla="*/ 348271 h 400050"/>
                <a:gd name="connsiteX65" fmla="*/ 327418 w 400050"/>
                <a:gd name="connsiteY65" fmla="*/ 352652 h 400050"/>
                <a:gd name="connsiteX66" fmla="*/ 312368 w 400050"/>
                <a:gd name="connsiteY66" fmla="*/ 364082 h 400050"/>
                <a:gd name="connsiteX67" fmla="*/ 281984 w 400050"/>
                <a:gd name="connsiteY67" fmla="*/ 380846 h 400050"/>
                <a:gd name="connsiteX68" fmla="*/ 264743 w 400050"/>
                <a:gd name="connsiteY68" fmla="*/ 377227 h 400050"/>
                <a:gd name="connsiteX69" fmla="*/ 249218 w 400050"/>
                <a:gd name="connsiteY69" fmla="*/ 359701 h 400050"/>
                <a:gd name="connsiteX70" fmla="*/ 240169 w 400050"/>
                <a:gd name="connsiteY70" fmla="*/ 362273 h 400050"/>
                <a:gd name="connsiteX71" fmla="*/ 215690 w 400050"/>
                <a:gd name="connsiteY71" fmla="*/ 365987 h 400050"/>
                <a:gd name="connsiteX72" fmla="*/ 206165 w 400050"/>
                <a:gd name="connsiteY72" fmla="*/ 388466 h 400050"/>
                <a:gd name="connsiteX73" fmla="*/ 193115 w 400050"/>
                <a:gd name="connsiteY73" fmla="*/ 397801 h 400050"/>
                <a:gd name="connsiteX74" fmla="*/ 144443 w 400050"/>
                <a:gd name="connsiteY74" fmla="*/ 365987 h 400050"/>
                <a:gd name="connsiteX75" fmla="*/ 152634 w 400050"/>
                <a:gd name="connsiteY75" fmla="*/ 368750 h 400050"/>
                <a:gd name="connsiteX76" fmla="*/ 188639 w 400050"/>
                <a:gd name="connsiteY76" fmla="*/ 375703 h 400050"/>
                <a:gd name="connsiteX77" fmla="*/ 195973 w 400050"/>
                <a:gd name="connsiteY77" fmla="*/ 357891 h 400050"/>
                <a:gd name="connsiteX78" fmla="*/ 198259 w 400050"/>
                <a:gd name="connsiteY78" fmla="*/ 352271 h 400050"/>
                <a:gd name="connsiteX79" fmla="*/ 207784 w 400050"/>
                <a:gd name="connsiteY79" fmla="*/ 344937 h 400050"/>
                <a:gd name="connsiteX80" fmla="*/ 208927 w 400050"/>
                <a:gd name="connsiteY80" fmla="*/ 344937 h 400050"/>
                <a:gd name="connsiteX81" fmla="*/ 234740 w 400050"/>
                <a:gd name="connsiteY81" fmla="*/ 341413 h 400050"/>
                <a:gd name="connsiteX82" fmla="*/ 246741 w 400050"/>
                <a:gd name="connsiteY82" fmla="*/ 337984 h 400050"/>
                <a:gd name="connsiteX83" fmla="*/ 261600 w 400050"/>
                <a:gd name="connsiteY83" fmla="*/ 341889 h 400050"/>
                <a:gd name="connsiteX84" fmla="*/ 277793 w 400050"/>
                <a:gd name="connsiteY84" fmla="*/ 359701 h 400050"/>
                <a:gd name="connsiteX85" fmla="*/ 300653 w 400050"/>
                <a:gd name="connsiteY85" fmla="*/ 346747 h 400050"/>
                <a:gd name="connsiteX86" fmla="*/ 314654 w 400050"/>
                <a:gd name="connsiteY86" fmla="*/ 336079 h 400050"/>
                <a:gd name="connsiteX87" fmla="*/ 316274 w 400050"/>
                <a:gd name="connsiteY87" fmla="*/ 334841 h 400050"/>
                <a:gd name="connsiteX88" fmla="*/ 311416 w 400050"/>
                <a:gd name="connsiteY88" fmla="*/ 323696 h 400050"/>
                <a:gd name="connsiteX89" fmla="*/ 307130 w 400050"/>
                <a:gd name="connsiteY89" fmla="*/ 314171 h 400050"/>
                <a:gd name="connsiteX90" fmla="*/ 308368 w 400050"/>
                <a:gd name="connsiteY90" fmla="*/ 299217 h 400050"/>
                <a:gd name="connsiteX91" fmla="*/ 329513 w 400050"/>
                <a:gd name="connsiteY91" fmla="*/ 269118 h 400050"/>
                <a:gd name="connsiteX92" fmla="*/ 347325 w 400050"/>
                <a:gd name="connsiteY92" fmla="*/ 259593 h 400050"/>
                <a:gd name="connsiteX93" fmla="*/ 363137 w 400050"/>
                <a:gd name="connsiteY93" fmla="*/ 260450 h 400050"/>
                <a:gd name="connsiteX94" fmla="*/ 367232 w 400050"/>
                <a:gd name="connsiteY94" fmla="*/ 260450 h 400050"/>
                <a:gd name="connsiteX95" fmla="*/ 376757 w 400050"/>
                <a:gd name="connsiteY95" fmla="*/ 216254 h 400050"/>
                <a:gd name="connsiteX96" fmla="*/ 352850 w 400050"/>
                <a:gd name="connsiteY96" fmla="*/ 207301 h 400050"/>
                <a:gd name="connsiteX97" fmla="*/ 344849 w 400050"/>
                <a:gd name="connsiteY97" fmla="*/ 195109 h 400050"/>
                <a:gd name="connsiteX98" fmla="*/ 337991 w 400050"/>
                <a:gd name="connsiteY98" fmla="*/ 158533 h 400050"/>
                <a:gd name="connsiteX99" fmla="*/ 342182 w 400050"/>
                <a:gd name="connsiteY99" fmla="*/ 143769 h 400050"/>
                <a:gd name="connsiteX100" fmla="*/ 357517 w 400050"/>
                <a:gd name="connsiteY100" fmla="*/ 129482 h 400050"/>
                <a:gd name="connsiteX101" fmla="*/ 359231 w 400050"/>
                <a:gd name="connsiteY101" fmla="*/ 127862 h 400050"/>
                <a:gd name="connsiteX102" fmla="*/ 343610 w 400050"/>
                <a:gd name="connsiteY102" fmla="*/ 101573 h 400050"/>
                <a:gd name="connsiteX103" fmla="*/ 335895 w 400050"/>
                <a:gd name="connsiteY103" fmla="*/ 92048 h 400050"/>
                <a:gd name="connsiteX104" fmla="*/ 334466 w 400050"/>
                <a:gd name="connsiteY104" fmla="*/ 90143 h 400050"/>
                <a:gd name="connsiteX105" fmla="*/ 313226 w 400050"/>
                <a:gd name="connsiteY105" fmla="*/ 99668 h 400050"/>
                <a:gd name="connsiteX106" fmla="*/ 299129 w 400050"/>
                <a:gd name="connsiteY106" fmla="*/ 98621 h 400050"/>
                <a:gd name="connsiteX107" fmla="*/ 267029 w 400050"/>
                <a:gd name="connsiteY107" fmla="*/ 76332 h 400050"/>
                <a:gd name="connsiteX108" fmla="*/ 259028 w 400050"/>
                <a:gd name="connsiteY108" fmla="*/ 62140 h 400050"/>
                <a:gd name="connsiteX109" fmla="*/ 259028 w 400050"/>
                <a:gd name="connsiteY109" fmla="*/ 51281 h 400050"/>
                <a:gd name="connsiteX110" fmla="*/ 259600 w 400050"/>
                <a:gd name="connsiteY110" fmla="*/ 38899 h 400050"/>
                <a:gd name="connsiteX111" fmla="*/ 236549 w 400050"/>
                <a:gd name="connsiteY111" fmla="*/ 32612 h 400050"/>
                <a:gd name="connsiteX112" fmla="*/ 217499 w 400050"/>
                <a:gd name="connsiteY112" fmla="*/ 30041 h 400050"/>
                <a:gd name="connsiteX113" fmla="*/ 215213 w 400050"/>
                <a:gd name="connsiteY113" fmla="*/ 30041 h 400050"/>
                <a:gd name="connsiteX114" fmla="*/ 210927 w 400050"/>
                <a:gd name="connsiteY114" fmla="*/ 40804 h 400050"/>
                <a:gd name="connsiteX115" fmla="*/ 207022 w 400050"/>
                <a:gd name="connsiteY115" fmla="*/ 50329 h 400050"/>
                <a:gd name="connsiteX116" fmla="*/ 193020 w 400050"/>
                <a:gd name="connsiteY116" fmla="*/ 60521 h 400050"/>
                <a:gd name="connsiteX117" fmla="*/ 157301 w 400050"/>
                <a:gd name="connsiteY117" fmla="*/ 67283 h 400050"/>
                <a:gd name="connsiteX118" fmla="*/ 141966 w 400050"/>
                <a:gd name="connsiteY118" fmla="*/ 62711 h 400050"/>
                <a:gd name="connsiteX119" fmla="*/ 129107 w 400050"/>
                <a:gd name="connsiteY119" fmla="*/ 48900 h 400050"/>
                <a:gd name="connsiteX120" fmla="*/ 126536 w 400050"/>
                <a:gd name="connsiteY120" fmla="*/ 46138 h 400050"/>
                <a:gd name="connsiteX121" fmla="*/ 113391 w 400050"/>
                <a:gd name="connsiteY121" fmla="*/ 52901 h 400050"/>
                <a:gd name="connsiteX122" fmla="*/ 88626 w 400050"/>
                <a:gd name="connsiteY122" fmla="*/ 70331 h 400050"/>
                <a:gd name="connsiteX123" fmla="*/ 90817 w 400050"/>
                <a:gd name="connsiteY123" fmla="*/ 75570 h 400050"/>
                <a:gd name="connsiteX124" fmla="*/ 97008 w 400050"/>
                <a:gd name="connsiteY124" fmla="*/ 89572 h 400050"/>
                <a:gd name="connsiteX125" fmla="*/ 94436 w 400050"/>
                <a:gd name="connsiteY125" fmla="*/ 108622 h 400050"/>
                <a:gd name="connsiteX126" fmla="*/ 78053 w 400050"/>
                <a:gd name="connsiteY126" fmla="*/ 131291 h 400050"/>
                <a:gd name="connsiteX127" fmla="*/ 74339 w 400050"/>
                <a:gd name="connsiteY127" fmla="*/ 137864 h 400050"/>
                <a:gd name="connsiteX128" fmla="*/ 59765 w 400050"/>
                <a:gd name="connsiteY128" fmla="*/ 145769 h 400050"/>
                <a:gd name="connsiteX129" fmla="*/ 37382 w 400050"/>
                <a:gd name="connsiteY129" fmla="*/ 144817 h 400050"/>
                <a:gd name="connsiteX130" fmla="*/ 30143 w 400050"/>
                <a:gd name="connsiteY130" fmla="*/ 174725 h 400050"/>
                <a:gd name="connsiteX131" fmla="*/ 28904 w 400050"/>
                <a:gd name="connsiteY131" fmla="*/ 185489 h 400050"/>
                <a:gd name="connsiteX132" fmla="*/ 28904 w 400050"/>
                <a:gd name="connsiteY132" fmla="*/ 188156 h 400050"/>
                <a:gd name="connsiteX133" fmla="*/ 50336 w 400050"/>
                <a:gd name="connsiteY133" fmla="*/ 196728 h 400050"/>
                <a:gd name="connsiteX134" fmla="*/ 59861 w 400050"/>
                <a:gd name="connsiteY134" fmla="*/ 209111 h 400050"/>
                <a:gd name="connsiteX135" fmla="*/ 65480 w 400050"/>
                <a:gd name="connsiteY135" fmla="*/ 242353 h 400050"/>
                <a:gd name="connsiteX136" fmla="*/ 66814 w 400050"/>
                <a:gd name="connsiteY136" fmla="*/ 246163 h 400050"/>
                <a:gd name="connsiteX137" fmla="*/ 62909 w 400050"/>
                <a:gd name="connsiteY137" fmla="*/ 261498 h 400050"/>
                <a:gd name="connsiteX138" fmla="*/ 50336 w 400050"/>
                <a:gd name="connsiteY138" fmla="*/ 272833 h 400050"/>
                <a:gd name="connsiteX139" fmla="*/ 45478 w 400050"/>
                <a:gd name="connsiteY139" fmla="*/ 277119 h 400050"/>
                <a:gd name="connsiteX140" fmla="*/ 70338 w 400050"/>
                <a:gd name="connsiteY140" fmla="*/ 315219 h 400050"/>
                <a:gd name="connsiteX141" fmla="*/ 91484 w 400050"/>
                <a:gd name="connsiteY141" fmla="*/ 305694 h 400050"/>
                <a:gd name="connsiteX142" fmla="*/ 106057 w 400050"/>
                <a:gd name="connsiteY142" fmla="*/ 306742 h 400050"/>
                <a:gd name="connsiteX143" fmla="*/ 135775 w 400050"/>
                <a:gd name="connsiteY143" fmla="*/ 327697 h 400050"/>
                <a:gd name="connsiteX144" fmla="*/ 145300 w 400050"/>
                <a:gd name="connsiteY144" fmla="*/ 346747 h 400050"/>
                <a:gd name="connsiteX145" fmla="*/ 144443 w 400050"/>
                <a:gd name="connsiteY145" fmla="*/ 365987 h 400050"/>
                <a:gd name="connsiteX146" fmla="*/ 138251 w 400050"/>
                <a:gd name="connsiteY146" fmla="*/ 363797 h 400050"/>
                <a:gd name="connsiteX147" fmla="*/ 139394 w 400050"/>
                <a:gd name="connsiteY147" fmla="*/ 363797 h 400050"/>
                <a:gd name="connsiteX148" fmla="*/ 124345 w 400050"/>
                <a:gd name="connsiteY148" fmla="*/ 343413 h 400050"/>
                <a:gd name="connsiteX149" fmla="*/ 124345 w 400050"/>
                <a:gd name="connsiteY149" fmla="*/ 343413 h 400050"/>
                <a:gd name="connsiteX150" fmla="*/ 348563 w 400050"/>
                <a:gd name="connsiteY150" fmla="*/ 277976 h 400050"/>
                <a:gd name="connsiteX151" fmla="*/ 348563 w 400050"/>
                <a:gd name="connsiteY151" fmla="*/ 277976 h 400050"/>
                <a:gd name="connsiteX152" fmla="*/ 28523 w 400050"/>
                <a:gd name="connsiteY152" fmla="*/ 193680 h 400050"/>
                <a:gd name="connsiteX153" fmla="*/ 28523 w 400050"/>
                <a:gd name="connsiteY153" fmla="*/ 194537 h 400050"/>
                <a:gd name="connsiteX154" fmla="*/ 28142 w 400050"/>
                <a:gd name="connsiteY154" fmla="*/ 193680 h 400050"/>
                <a:gd name="connsiteX155" fmla="*/ 361898 w 400050"/>
                <a:gd name="connsiteY155" fmla="*/ 187870 h 400050"/>
                <a:gd name="connsiteX156" fmla="*/ 362660 w 400050"/>
                <a:gd name="connsiteY156" fmla="*/ 187870 h 400050"/>
                <a:gd name="connsiteX157" fmla="*/ 358469 w 400050"/>
                <a:gd name="connsiteY157" fmla="*/ 151580 h 400050"/>
                <a:gd name="connsiteX158" fmla="*/ 358469 w 400050"/>
                <a:gd name="connsiteY158" fmla="*/ 152342 h 400050"/>
                <a:gd name="connsiteX159" fmla="*/ 55670 w 400050"/>
                <a:gd name="connsiteY159" fmla="*/ 127386 h 400050"/>
                <a:gd name="connsiteX160" fmla="*/ 55670 w 400050"/>
                <a:gd name="connsiteY160" fmla="*/ 127386 h 400050"/>
                <a:gd name="connsiteX161" fmla="*/ 363518 w 400050"/>
                <a:gd name="connsiteY161" fmla="*/ 123671 h 400050"/>
                <a:gd name="connsiteX162" fmla="*/ 362946 w 400050"/>
                <a:gd name="connsiteY162" fmla="*/ 124148 h 400050"/>
                <a:gd name="connsiteX163" fmla="*/ 362946 w 400050"/>
                <a:gd name="connsiteY163" fmla="*/ 124148 h 400050"/>
                <a:gd name="connsiteX164" fmla="*/ 364089 w 400050"/>
                <a:gd name="connsiteY164" fmla="*/ 123671 h 400050"/>
                <a:gd name="connsiteX165" fmla="*/ 364089 w 400050"/>
                <a:gd name="connsiteY165" fmla="*/ 123671 h 400050"/>
                <a:gd name="connsiteX166" fmla="*/ 150920 w 400050"/>
                <a:gd name="connsiteY166" fmla="*/ 46519 h 400050"/>
                <a:gd name="connsiteX167" fmla="*/ 150920 w 400050"/>
                <a:gd name="connsiteY167" fmla="*/ 46519 h 400050"/>
                <a:gd name="connsiteX168" fmla="*/ 209689 w 400050"/>
                <a:gd name="connsiteY168" fmla="*/ 28898 h 400050"/>
                <a:gd name="connsiteX169" fmla="*/ 209689 w 400050"/>
                <a:gd name="connsiteY169" fmla="*/ 28898 h 400050"/>
                <a:gd name="connsiteX170" fmla="*/ 217404 w 400050"/>
                <a:gd name="connsiteY170" fmla="*/ 24040 h 400050"/>
                <a:gd name="connsiteX171" fmla="*/ 217404 w 400050"/>
                <a:gd name="connsiteY171" fmla="*/ 24040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</a:cxnLst>
              <a:rect l="l" t="t" r="r" b="b"/>
              <a:pathLst>
                <a:path w="400050" h="400050">
                  <a:moveTo>
                    <a:pt x="193115" y="397801"/>
                  </a:moveTo>
                  <a:lnTo>
                    <a:pt x="191210" y="397801"/>
                  </a:lnTo>
                  <a:cubicBezTo>
                    <a:pt x="175902" y="396830"/>
                    <a:pt x="160754" y="394113"/>
                    <a:pt x="146062" y="389705"/>
                  </a:cubicBezTo>
                  <a:cubicBezTo>
                    <a:pt x="141871" y="388371"/>
                    <a:pt x="137585" y="386847"/>
                    <a:pt x="133584" y="385418"/>
                  </a:cubicBezTo>
                  <a:lnTo>
                    <a:pt x="131489" y="384656"/>
                  </a:lnTo>
                  <a:cubicBezTo>
                    <a:pt x="125792" y="382772"/>
                    <a:pt x="122156" y="377199"/>
                    <a:pt x="122726" y="371226"/>
                  </a:cubicBezTo>
                  <a:cubicBezTo>
                    <a:pt x="122726" y="363225"/>
                    <a:pt x="122726" y="355034"/>
                    <a:pt x="123678" y="346652"/>
                  </a:cubicBezTo>
                  <a:cubicBezTo>
                    <a:pt x="113856" y="341242"/>
                    <a:pt x="104602" y="334860"/>
                    <a:pt x="96056" y="327602"/>
                  </a:cubicBezTo>
                  <a:lnTo>
                    <a:pt x="75196" y="337127"/>
                  </a:lnTo>
                  <a:cubicBezTo>
                    <a:pt x="68826" y="341255"/>
                    <a:pt x="60318" y="339468"/>
                    <a:pt x="56146" y="333126"/>
                  </a:cubicBezTo>
                  <a:cubicBezTo>
                    <a:pt x="42536" y="317847"/>
                    <a:pt x="31414" y="300522"/>
                    <a:pt x="23189" y="281786"/>
                  </a:cubicBezTo>
                  <a:cubicBezTo>
                    <a:pt x="20419" y="276372"/>
                    <a:pt x="21854" y="269755"/>
                    <a:pt x="26618" y="265975"/>
                  </a:cubicBezTo>
                  <a:lnTo>
                    <a:pt x="35381" y="258069"/>
                  </a:lnTo>
                  <a:lnTo>
                    <a:pt x="44906" y="249687"/>
                  </a:lnTo>
                  <a:lnTo>
                    <a:pt x="44906" y="249687"/>
                  </a:lnTo>
                  <a:cubicBezTo>
                    <a:pt x="41818" y="238697"/>
                    <a:pt x="39777" y="227439"/>
                    <a:pt x="38810" y="216064"/>
                  </a:cubicBezTo>
                  <a:lnTo>
                    <a:pt x="16046" y="206539"/>
                  </a:lnTo>
                  <a:cubicBezTo>
                    <a:pt x="9867" y="204540"/>
                    <a:pt x="6148" y="198247"/>
                    <a:pt x="7378" y="191870"/>
                  </a:cubicBezTo>
                  <a:cubicBezTo>
                    <a:pt x="7378" y="189680"/>
                    <a:pt x="7378" y="186822"/>
                    <a:pt x="8140" y="183965"/>
                  </a:cubicBezTo>
                  <a:cubicBezTo>
                    <a:pt x="8902" y="181107"/>
                    <a:pt x="8997" y="176154"/>
                    <a:pt x="9569" y="172344"/>
                  </a:cubicBezTo>
                  <a:cubicBezTo>
                    <a:pt x="11413" y="158918"/>
                    <a:pt x="14801" y="145750"/>
                    <a:pt x="19665" y="133101"/>
                  </a:cubicBezTo>
                  <a:cubicBezTo>
                    <a:pt x="21441" y="126450"/>
                    <a:pt x="28046" y="122296"/>
                    <a:pt x="34810" y="123576"/>
                  </a:cubicBezTo>
                  <a:lnTo>
                    <a:pt x="58051" y="124529"/>
                  </a:lnTo>
                  <a:cubicBezTo>
                    <a:pt x="58908" y="123195"/>
                    <a:pt x="59670" y="121862"/>
                    <a:pt x="60432" y="120528"/>
                  </a:cubicBezTo>
                  <a:cubicBezTo>
                    <a:pt x="65429" y="112091"/>
                    <a:pt x="71133" y="104093"/>
                    <a:pt x="77482" y="96620"/>
                  </a:cubicBezTo>
                  <a:cubicBezTo>
                    <a:pt x="75577" y="92525"/>
                    <a:pt x="73767" y="88334"/>
                    <a:pt x="72053" y="84143"/>
                  </a:cubicBezTo>
                  <a:lnTo>
                    <a:pt x="68243" y="74618"/>
                  </a:lnTo>
                  <a:cubicBezTo>
                    <a:pt x="64330" y="68146"/>
                    <a:pt x="66222" y="59740"/>
                    <a:pt x="72529" y="55568"/>
                  </a:cubicBezTo>
                  <a:cubicBezTo>
                    <a:pt x="82042" y="47009"/>
                    <a:pt x="92453" y="39504"/>
                    <a:pt x="103580" y="33184"/>
                  </a:cubicBezTo>
                  <a:cubicBezTo>
                    <a:pt x="110057" y="29564"/>
                    <a:pt x="116725" y="26421"/>
                    <a:pt x="122630" y="23659"/>
                  </a:cubicBezTo>
                  <a:cubicBezTo>
                    <a:pt x="128429" y="20511"/>
                    <a:pt x="135665" y="22187"/>
                    <a:pt x="139490" y="27564"/>
                  </a:cubicBezTo>
                  <a:lnTo>
                    <a:pt x="145014" y="33470"/>
                  </a:lnTo>
                  <a:cubicBezTo>
                    <a:pt x="148538" y="37375"/>
                    <a:pt x="151967" y="41185"/>
                    <a:pt x="155396" y="44804"/>
                  </a:cubicBezTo>
                  <a:cubicBezTo>
                    <a:pt x="166285" y="41678"/>
                    <a:pt x="177449" y="39604"/>
                    <a:pt x="188734" y="38613"/>
                  </a:cubicBezTo>
                  <a:lnTo>
                    <a:pt x="191496" y="31755"/>
                  </a:lnTo>
                  <a:cubicBezTo>
                    <a:pt x="193592" y="26612"/>
                    <a:pt x="195687" y="21563"/>
                    <a:pt x="197687" y="16420"/>
                  </a:cubicBezTo>
                  <a:cubicBezTo>
                    <a:pt x="199734" y="10018"/>
                    <a:pt x="206225" y="6140"/>
                    <a:pt x="212832" y="7371"/>
                  </a:cubicBezTo>
                  <a:lnTo>
                    <a:pt x="220166" y="8133"/>
                  </a:lnTo>
                  <a:cubicBezTo>
                    <a:pt x="226834" y="8895"/>
                    <a:pt x="233692" y="9657"/>
                    <a:pt x="240645" y="10895"/>
                  </a:cubicBezTo>
                  <a:cubicBezTo>
                    <a:pt x="251263" y="12861"/>
                    <a:pt x="261663" y="15859"/>
                    <a:pt x="271697" y="19849"/>
                  </a:cubicBezTo>
                  <a:cubicBezTo>
                    <a:pt x="278025" y="21932"/>
                    <a:pt x="282009" y="28187"/>
                    <a:pt x="281222" y="34803"/>
                  </a:cubicBezTo>
                  <a:cubicBezTo>
                    <a:pt x="281222" y="40328"/>
                    <a:pt x="280650" y="45852"/>
                    <a:pt x="280460" y="51377"/>
                  </a:cubicBezTo>
                  <a:lnTo>
                    <a:pt x="280460" y="58616"/>
                  </a:lnTo>
                  <a:cubicBezTo>
                    <a:pt x="290385" y="64050"/>
                    <a:pt x="299763" y="70430"/>
                    <a:pt x="308463" y="77666"/>
                  </a:cubicBezTo>
                  <a:lnTo>
                    <a:pt x="340372" y="64426"/>
                  </a:lnTo>
                  <a:lnTo>
                    <a:pt x="345420" y="70141"/>
                  </a:lnTo>
                  <a:cubicBezTo>
                    <a:pt x="346754" y="71570"/>
                    <a:pt x="347516" y="72332"/>
                    <a:pt x="348087" y="73094"/>
                  </a:cubicBezTo>
                  <a:lnTo>
                    <a:pt x="352564" y="78713"/>
                  </a:lnTo>
                  <a:cubicBezTo>
                    <a:pt x="355326" y="82238"/>
                    <a:pt x="358184" y="85762"/>
                    <a:pt x="360755" y="89477"/>
                  </a:cubicBezTo>
                  <a:cubicBezTo>
                    <a:pt x="368805" y="100333"/>
                    <a:pt x="375550" y="112098"/>
                    <a:pt x="380853" y="124529"/>
                  </a:cubicBezTo>
                  <a:cubicBezTo>
                    <a:pt x="383540" y="130161"/>
                    <a:pt x="381863" y="136907"/>
                    <a:pt x="376853" y="140626"/>
                  </a:cubicBezTo>
                  <a:lnTo>
                    <a:pt x="371995" y="145103"/>
                  </a:lnTo>
                  <a:lnTo>
                    <a:pt x="359517" y="156723"/>
                  </a:lnTo>
                  <a:cubicBezTo>
                    <a:pt x="362628" y="167523"/>
                    <a:pt x="364733" y="178587"/>
                    <a:pt x="365804" y="189775"/>
                  </a:cubicBezTo>
                  <a:lnTo>
                    <a:pt x="397903" y="201395"/>
                  </a:lnTo>
                  <a:lnTo>
                    <a:pt x="397903" y="210920"/>
                  </a:lnTo>
                  <a:cubicBezTo>
                    <a:pt x="396810" y="231869"/>
                    <a:pt x="392506" y="252525"/>
                    <a:pt x="385139" y="272166"/>
                  </a:cubicBezTo>
                  <a:cubicBezTo>
                    <a:pt x="383451" y="278311"/>
                    <a:pt x="377572" y="282337"/>
                    <a:pt x="371233" y="281691"/>
                  </a:cubicBezTo>
                  <a:lnTo>
                    <a:pt x="361708" y="281691"/>
                  </a:lnTo>
                  <a:lnTo>
                    <a:pt x="346658" y="280929"/>
                  </a:lnTo>
                  <a:cubicBezTo>
                    <a:pt x="341217" y="290791"/>
                    <a:pt x="334837" y="300105"/>
                    <a:pt x="327608" y="308742"/>
                  </a:cubicBezTo>
                  <a:lnTo>
                    <a:pt x="330466" y="315124"/>
                  </a:lnTo>
                  <a:cubicBezTo>
                    <a:pt x="332657" y="320267"/>
                    <a:pt x="334943" y="325411"/>
                    <a:pt x="337229" y="330459"/>
                  </a:cubicBezTo>
                  <a:cubicBezTo>
                    <a:pt x="338843" y="333358"/>
                    <a:pt x="339318" y="336754"/>
                    <a:pt x="338562" y="339984"/>
                  </a:cubicBezTo>
                  <a:cubicBezTo>
                    <a:pt x="337833" y="343345"/>
                    <a:pt x="335859" y="346305"/>
                    <a:pt x="333038" y="348271"/>
                  </a:cubicBezTo>
                  <a:lnTo>
                    <a:pt x="327418" y="352652"/>
                  </a:lnTo>
                  <a:cubicBezTo>
                    <a:pt x="322465" y="356558"/>
                    <a:pt x="317893" y="360463"/>
                    <a:pt x="312368" y="364082"/>
                  </a:cubicBezTo>
                  <a:cubicBezTo>
                    <a:pt x="302797" y="370626"/>
                    <a:pt x="292623" y="376239"/>
                    <a:pt x="281984" y="380846"/>
                  </a:cubicBezTo>
                  <a:cubicBezTo>
                    <a:pt x="276167" y="384286"/>
                    <a:pt x="268686" y="382715"/>
                    <a:pt x="264743" y="377227"/>
                  </a:cubicBezTo>
                  <a:lnTo>
                    <a:pt x="249218" y="359701"/>
                  </a:lnTo>
                  <a:cubicBezTo>
                    <a:pt x="246265" y="360653"/>
                    <a:pt x="243217" y="361511"/>
                    <a:pt x="240169" y="362273"/>
                  </a:cubicBezTo>
                  <a:cubicBezTo>
                    <a:pt x="232120" y="364154"/>
                    <a:pt x="223935" y="365396"/>
                    <a:pt x="215690" y="365987"/>
                  </a:cubicBezTo>
                  <a:lnTo>
                    <a:pt x="206165" y="388466"/>
                  </a:lnTo>
                  <a:cubicBezTo>
                    <a:pt x="204229" y="394026"/>
                    <a:pt x="199003" y="397765"/>
                    <a:pt x="193115" y="397801"/>
                  </a:cubicBezTo>
                  <a:close/>
                  <a:moveTo>
                    <a:pt x="144443" y="365987"/>
                  </a:moveTo>
                  <a:cubicBezTo>
                    <a:pt x="147123" y="367050"/>
                    <a:pt x="149857" y="367972"/>
                    <a:pt x="152634" y="368750"/>
                  </a:cubicBezTo>
                  <a:cubicBezTo>
                    <a:pt x="164363" y="372308"/>
                    <a:pt x="176429" y="374638"/>
                    <a:pt x="188639" y="375703"/>
                  </a:cubicBezTo>
                  <a:lnTo>
                    <a:pt x="195973" y="357891"/>
                  </a:lnTo>
                  <a:cubicBezTo>
                    <a:pt x="196636" y="355979"/>
                    <a:pt x="197399" y="354103"/>
                    <a:pt x="198259" y="352271"/>
                  </a:cubicBezTo>
                  <a:cubicBezTo>
                    <a:pt x="200039" y="348412"/>
                    <a:pt x="203598" y="345671"/>
                    <a:pt x="207784" y="344937"/>
                  </a:cubicBezTo>
                  <a:lnTo>
                    <a:pt x="208927" y="344937"/>
                  </a:lnTo>
                  <a:cubicBezTo>
                    <a:pt x="217622" y="344573"/>
                    <a:pt x="226265" y="343393"/>
                    <a:pt x="234740" y="341413"/>
                  </a:cubicBezTo>
                  <a:cubicBezTo>
                    <a:pt x="238645" y="340460"/>
                    <a:pt x="242741" y="339222"/>
                    <a:pt x="246741" y="337984"/>
                  </a:cubicBezTo>
                  <a:cubicBezTo>
                    <a:pt x="252022" y="336015"/>
                    <a:pt x="257970" y="337578"/>
                    <a:pt x="261600" y="341889"/>
                  </a:cubicBezTo>
                  <a:lnTo>
                    <a:pt x="277793" y="359701"/>
                  </a:lnTo>
                  <a:cubicBezTo>
                    <a:pt x="285749" y="356006"/>
                    <a:pt x="293394" y="351674"/>
                    <a:pt x="300653" y="346747"/>
                  </a:cubicBezTo>
                  <a:cubicBezTo>
                    <a:pt x="305415" y="343413"/>
                    <a:pt x="310178" y="339794"/>
                    <a:pt x="314654" y="336079"/>
                  </a:cubicBezTo>
                  <a:lnTo>
                    <a:pt x="316274" y="334841"/>
                  </a:lnTo>
                  <a:lnTo>
                    <a:pt x="311416" y="323696"/>
                  </a:lnTo>
                  <a:lnTo>
                    <a:pt x="307130" y="314171"/>
                  </a:lnTo>
                  <a:cubicBezTo>
                    <a:pt x="304319" y="309431"/>
                    <a:pt x="304816" y="303431"/>
                    <a:pt x="308368" y="299217"/>
                  </a:cubicBezTo>
                  <a:cubicBezTo>
                    <a:pt x="316558" y="290037"/>
                    <a:pt x="323654" y="279936"/>
                    <a:pt x="329513" y="269118"/>
                  </a:cubicBezTo>
                  <a:cubicBezTo>
                    <a:pt x="332729" y="262389"/>
                    <a:pt x="339944" y="258531"/>
                    <a:pt x="347325" y="259593"/>
                  </a:cubicBezTo>
                  <a:cubicBezTo>
                    <a:pt x="352564" y="259593"/>
                    <a:pt x="357803" y="260260"/>
                    <a:pt x="363137" y="260450"/>
                  </a:cubicBezTo>
                  <a:lnTo>
                    <a:pt x="367232" y="260450"/>
                  </a:lnTo>
                  <a:cubicBezTo>
                    <a:pt x="372251" y="246177"/>
                    <a:pt x="375451" y="231328"/>
                    <a:pt x="376757" y="216254"/>
                  </a:cubicBezTo>
                  <a:lnTo>
                    <a:pt x="352850" y="207301"/>
                  </a:lnTo>
                  <a:cubicBezTo>
                    <a:pt x="348016" y="205165"/>
                    <a:pt x="344885" y="200393"/>
                    <a:pt x="344849" y="195109"/>
                  </a:cubicBezTo>
                  <a:cubicBezTo>
                    <a:pt x="344058" y="182683"/>
                    <a:pt x="341755" y="170401"/>
                    <a:pt x="337991" y="158533"/>
                  </a:cubicBezTo>
                  <a:cubicBezTo>
                    <a:pt x="336161" y="153219"/>
                    <a:pt x="337834" y="147329"/>
                    <a:pt x="342182" y="143769"/>
                  </a:cubicBezTo>
                  <a:lnTo>
                    <a:pt x="357517" y="129482"/>
                  </a:lnTo>
                  <a:lnTo>
                    <a:pt x="359231" y="127862"/>
                  </a:lnTo>
                  <a:cubicBezTo>
                    <a:pt x="354865" y="118626"/>
                    <a:pt x="349635" y="109824"/>
                    <a:pt x="343610" y="101573"/>
                  </a:cubicBezTo>
                  <a:cubicBezTo>
                    <a:pt x="341134" y="98144"/>
                    <a:pt x="338562" y="94969"/>
                    <a:pt x="335895" y="92048"/>
                  </a:cubicBezTo>
                  <a:lnTo>
                    <a:pt x="334466" y="90143"/>
                  </a:lnTo>
                  <a:lnTo>
                    <a:pt x="313226" y="99668"/>
                  </a:lnTo>
                  <a:cubicBezTo>
                    <a:pt x="308739" y="102165"/>
                    <a:pt x="303197" y="101753"/>
                    <a:pt x="299129" y="98621"/>
                  </a:cubicBezTo>
                  <a:cubicBezTo>
                    <a:pt x="289368" y="89922"/>
                    <a:pt x="278590" y="82438"/>
                    <a:pt x="267029" y="76332"/>
                  </a:cubicBezTo>
                  <a:cubicBezTo>
                    <a:pt x="261601" y="73800"/>
                    <a:pt x="258385" y="68095"/>
                    <a:pt x="259028" y="62140"/>
                  </a:cubicBezTo>
                  <a:lnTo>
                    <a:pt x="259028" y="51281"/>
                  </a:lnTo>
                  <a:lnTo>
                    <a:pt x="259600" y="38899"/>
                  </a:lnTo>
                  <a:cubicBezTo>
                    <a:pt x="252110" y="36150"/>
                    <a:pt x="244398" y="34047"/>
                    <a:pt x="236549" y="32612"/>
                  </a:cubicBezTo>
                  <a:cubicBezTo>
                    <a:pt x="230358" y="31469"/>
                    <a:pt x="224072" y="30803"/>
                    <a:pt x="217499" y="30041"/>
                  </a:cubicBezTo>
                  <a:lnTo>
                    <a:pt x="215213" y="30041"/>
                  </a:lnTo>
                  <a:cubicBezTo>
                    <a:pt x="213785" y="33755"/>
                    <a:pt x="212356" y="37280"/>
                    <a:pt x="210927" y="40804"/>
                  </a:cubicBezTo>
                  <a:lnTo>
                    <a:pt x="207022" y="50329"/>
                  </a:lnTo>
                  <a:cubicBezTo>
                    <a:pt x="204997" y="56358"/>
                    <a:pt x="199380" y="60446"/>
                    <a:pt x="193020" y="60521"/>
                  </a:cubicBezTo>
                  <a:cubicBezTo>
                    <a:pt x="180881" y="61298"/>
                    <a:pt x="168884" y="63569"/>
                    <a:pt x="157301" y="67283"/>
                  </a:cubicBezTo>
                  <a:cubicBezTo>
                    <a:pt x="151738" y="69178"/>
                    <a:pt x="145584" y="67343"/>
                    <a:pt x="141966" y="62711"/>
                  </a:cubicBezTo>
                  <a:cubicBezTo>
                    <a:pt x="137680" y="58235"/>
                    <a:pt x="133298" y="53186"/>
                    <a:pt x="129107" y="48900"/>
                  </a:cubicBezTo>
                  <a:lnTo>
                    <a:pt x="126536" y="46138"/>
                  </a:lnTo>
                  <a:cubicBezTo>
                    <a:pt x="122345" y="48138"/>
                    <a:pt x="117773" y="50424"/>
                    <a:pt x="113391" y="52901"/>
                  </a:cubicBezTo>
                  <a:cubicBezTo>
                    <a:pt x="104586" y="57886"/>
                    <a:pt x="96291" y="63725"/>
                    <a:pt x="88626" y="70331"/>
                  </a:cubicBezTo>
                  <a:lnTo>
                    <a:pt x="90817" y="75570"/>
                  </a:lnTo>
                  <a:cubicBezTo>
                    <a:pt x="92912" y="80237"/>
                    <a:pt x="94913" y="85095"/>
                    <a:pt x="97008" y="89572"/>
                  </a:cubicBezTo>
                  <a:cubicBezTo>
                    <a:pt x="100485" y="95787"/>
                    <a:pt x="99437" y="103551"/>
                    <a:pt x="94436" y="108622"/>
                  </a:cubicBezTo>
                  <a:cubicBezTo>
                    <a:pt x="88322" y="115684"/>
                    <a:pt x="82840" y="123269"/>
                    <a:pt x="78053" y="131291"/>
                  </a:cubicBezTo>
                  <a:cubicBezTo>
                    <a:pt x="76720" y="133482"/>
                    <a:pt x="75482" y="135578"/>
                    <a:pt x="74339" y="137864"/>
                  </a:cubicBezTo>
                  <a:cubicBezTo>
                    <a:pt x="71579" y="143255"/>
                    <a:pt x="65789" y="146395"/>
                    <a:pt x="59765" y="145769"/>
                  </a:cubicBezTo>
                  <a:lnTo>
                    <a:pt x="37382" y="144817"/>
                  </a:lnTo>
                  <a:cubicBezTo>
                    <a:pt x="34036" y="154537"/>
                    <a:pt x="31613" y="164551"/>
                    <a:pt x="30143" y="174725"/>
                  </a:cubicBezTo>
                  <a:cubicBezTo>
                    <a:pt x="29666" y="178250"/>
                    <a:pt x="29285" y="181869"/>
                    <a:pt x="28904" y="185489"/>
                  </a:cubicBezTo>
                  <a:lnTo>
                    <a:pt x="28904" y="188156"/>
                  </a:lnTo>
                  <a:lnTo>
                    <a:pt x="50336" y="196728"/>
                  </a:lnTo>
                  <a:cubicBezTo>
                    <a:pt x="55849" y="198369"/>
                    <a:pt x="59689" y="203361"/>
                    <a:pt x="59861" y="209111"/>
                  </a:cubicBezTo>
                  <a:cubicBezTo>
                    <a:pt x="60633" y="220350"/>
                    <a:pt x="62515" y="231485"/>
                    <a:pt x="65480" y="242353"/>
                  </a:cubicBezTo>
                  <a:lnTo>
                    <a:pt x="66814" y="246163"/>
                  </a:lnTo>
                  <a:cubicBezTo>
                    <a:pt x="69046" y="251576"/>
                    <a:pt x="67458" y="257812"/>
                    <a:pt x="62909" y="261498"/>
                  </a:cubicBezTo>
                  <a:lnTo>
                    <a:pt x="50336" y="272833"/>
                  </a:lnTo>
                  <a:lnTo>
                    <a:pt x="45478" y="277119"/>
                  </a:lnTo>
                  <a:cubicBezTo>
                    <a:pt x="52129" y="290814"/>
                    <a:pt x="60482" y="303615"/>
                    <a:pt x="70338" y="315219"/>
                  </a:cubicBezTo>
                  <a:lnTo>
                    <a:pt x="91484" y="305694"/>
                  </a:lnTo>
                  <a:cubicBezTo>
                    <a:pt x="96074" y="302925"/>
                    <a:pt x="101910" y="303344"/>
                    <a:pt x="106057" y="306742"/>
                  </a:cubicBezTo>
                  <a:cubicBezTo>
                    <a:pt x="115069" y="314915"/>
                    <a:pt x="125050" y="321952"/>
                    <a:pt x="135775" y="327697"/>
                  </a:cubicBezTo>
                  <a:cubicBezTo>
                    <a:pt x="143067" y="330983"/>
                    <a:pt x="147046" y="338941"/>
                    <a:pt x="145300" y="346747"/>
                  </a:cubicBezTo>
                  <a:cubicBezTo>
                    <a:pt x="144611" y="353136"/>
                    <a:pt x="144324" y="359562"/>
                    <a:pt x="144443" y="365987"/>
                  </a:cubicBezTo>
                  <a:close/>
                  <a:moveTo>
                    <a:pt x="138251" y="363797"/>
                  </a:moveTo>
                  <a:lnTo>
                    <a:pt x="139394" y="363797"/>
                  </a:lnTo>
                  <a:close/>
                  <a:moveTo>
                    <a:pt x="124345" y="343413"/>
                  </a:moveTo>
                  <a:lnTo>
                    <a:pt x="124345" y="343413"/>
                  </a:lnTo>
                  <a:close/>
                  <a:moveTo>
                    <a:pt x="348563" y="277976"/>
                  </a:moveTo>
                  <a:lnTo>
                    <a:pt x="348563" y="277976"/>
                  </a:lnTo>
                  <a:close/>
                  <a:moveTo>
                    <a:pt x="28523" y="193680"/>
                  </a:moveTo>
                  <a:lnTo>
                    <a:pt x="28523" y="194537"/>
                  </a:lnTo>
                  <a:cubicBezTo>
                    <a:pt x="28523" y="194537"/>
                    <a:pt x="28142" y="193966"/>
                    <a:pt x="28142" y="193680"/>
                  </a:cubicBezTo>
                  <a:close/>
                  <a:moveTo>
                    <a:pt x="361898" y="187870"/>
                  </a:moveTo>
                  <a:lnTo>
                    <a:pt x="362660" y="187870"/>
                  </a:lnTo>
                  <a:close/>
                  <a:moveTo>
                    <a:pt x="358469" y="151580"/>
                  </a:moveTo>
                  <a:lnTo>
                    <a:pt x="358469" y="152342"/>
                  </a:lnTo>
                  <a:close/>
                  <a:moveTo>
                    <a:pt x="55670" y="127386"/>
                  </a:moveTo>
                  <a:lnTo>
                    <a:pt x="55670" y="127386"/>
                  </a:lnTo>
                  <a:close/>
                  <a:moveTo>
                    <a:pt x="363518" y="123671"/>
                  </a:moveTo>
                  <a:lnTo>
                    <a:pt x="362946" y="124148"/>
                  </a:lnTo>
                  <a:lnTo>
                    <a:pt x="362946" y="124148"/>
                  </a:lnTo>
                  <a:close/>
                  <a:moveTo>
                    <a:pt x="364089" y="123671"/>
                  </a:moveTo>
                  <a:lnTo>
                    <a:pt x="364089" y="123671"/>
                  </a:lnTo>
                  <a:close/>
                  <a:moveTo>
                    <a:pt x="150920" y="46519"/>
                  </a:moveTo>
                  <a:lnTo>
                    <a:pt x="150920" y="46519"/>
                  </a:lnTo>
                  <a:close/>
                  <a:moveTo>
                    <a:pt x="209689" y="28898"/>
                  </a:moveTo>
                  <a:lnTo>
                    <a:pt x="209689" y="28898"/>
                  </a:lnTo>
                  <a:close/>
                  <a:moveTo>
                    <a:pt x="217404" y="24040"/>
                  </a:moveTo>
                  <a:lnTo>
                    <a:pt x="217404" y="2404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542">
              <a:extLst>
                <a:ext uri="{FF2B5EF4-FFF2-40B4-BE49-F238E27FC236}">
                  <a16:creationId xmlns:a16="http://schemas.microsoft.com/office/drawing/2014/main" id="{395C947A-2B08-254C-ACFA-333CA27881D6}"/>
                </a:ext>
              </a:extLst>
            </p:cNvPr>
            <p:cNvSpPr/>
            <p:nvPr/>
          </p:nvSpPr>
          <p:spPr>
            <a:xfrm>
              <a:off x="3646646" y="4697444"/>
              <a:ext cx="133350" cy="133350"/>
            </a:xfrm>
            <a:custGeom>
              <a:avLst/>
              <a:gdLst>
                <a:gd name="connsiteX0" fmla="*/ 69056 w 133350"/>
                <a:gd name="connsiteY0" fmla="*/ 130969 h 133350"/>
                <a:gd name="connsiteX1" fmla="*/ 7144 w 133350"/>
                <a:gd name="connsiteY1" fmla="*/ 69056 h 133350"/>
                <a:gd name="connsiteX2" fmla="*/ 69056 w 133350"/>
                <a:gd name="connsiteY2" fmla="*/ 7144 h 133350"/>
                <a:gd name="connsiteX3" fmla="*/ 130969 w 133350"/>
                <a:gd name="connsiteY3" fmla="*/ 69056 h 133350"/>
                <a:gd name="connsiteX4" fmla="*/ 130969 w 133350"/>
                <a:gd name="connsiteY4" fmla="*/ 69152 h 133350"/>
                <a:gd name="connsiteX5" fmla="*/ 69056 w 133350"/>
                <a:gd name="connsiteY5" fmla="*/ 130969 h 133350"/>
                <a:gd name="connsiteX6" fmla="*/ 69056 w 133350"/>
                <a:gd name="connsiteY6" fmla="*/ 28575 h 133350"/>
                <a:gd name="connsiteX7" fmla="*/ 28480 w 133350"/>
                <a:gd name="connsiteY7" fmla="*/ 69152 h 133350"/>
                <a:gd name="connsiteX8" fmla="*/ 69056 w 133350"/>
                <a:gd name="connsiteY8" fmla="*/ 109728 h 133350"/>
                <a:gd name="connsiteX9" fmla="*/ 109633 w 133350"/>
                <a:gd name="connsiteY9" fmla="*/ 69152 h 133350"/>
                <a:gd name="connsiteX10" fmla="*/ 69056 w 133350"/>
                <a:gd name="connsiteY10" fmla="*/ 28575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3350" h="133350">
                  <a:moveTo>
                    <a:pt x="69056" y="130969"/>
                  </a:moveTo>
                  <a:cubicBezTo>
                    <a:pt x="34863" y="130969"/>
                    <a:pt x="7144" y="103250"/>
                    <a:pt x="7144" y="69056"/>
                  </a:cubicBezTo>
                  <a:cubicBezTo>
                    <a:pt x="7144" y="34863"/>
                    <a:pt x="34863" y="7144"/>
                    <a:pt x="69056" y="7144"/>
                  </a:cubicBezTo>
                  <a:cubicBezTo>
                    <a:pt x="103250" y="7144"/>
                    <a:pt x="130969" y="34863"/>
                    <a:pt x="130969" y="69056"/>
                  </a:cubicBezTo>
                  <a:cubicBezTo>
                    <a:pt x="130969" y="69088"/>
                    <a:pt x="130969" y="69120"/>
                    <a:pt x="130969" y="69152"/>
                  </a:cubicBezTo>
                  <a:cubicBezTo>
                    <a:pt x="130916" y="103308"/>
                    <a:pt x="103212" y="130969"/>
                    <a:pt x="69056" y="130969"/>
                  </a:cubicBezTo>
                  <a:close/>
                  <a:moveTo>
                    <a:pt x="69056" y="28575"/>
                  </a:moveTo>
                  <a:cubicBezTo>
                    <a:pt x="46646" y="28575"/>
                    <a:pt x="28480" y="46742"/>
                    <a:pt x="28480" y="69152"/>
                  </a:cubicBezTo>
                  <a:cubicBezTo>
                    <a:pt x="28480" y="91561"/>
                    <a:pt x="46646" y="109728"/>
                    <a:pt x="69056" y="109728"/>
                  </a:cubicBezTo>
                  <a:cubicBezTo>
                    <a:pt x="91466" y="109728"/>
                    <a:pt x="109633" y="91561"/>
                    <a:pt x="109633" y="69152"/>
                  </a:cubicBezTo>
                  <a:cubicBezTo>
                    <a:pt x="109633" y="46742"/>
                    <a:pt x="91466" y="28575"/>
                    <a:pt x="69056" y="2857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543">
              <a:extLst>
                <a:ext uri="{FF2B5EF4-FFF2-40B4-BE49-F238E27FC236}">
                  <a16:creationId xmlns:a16="http://schemas.microsoft.com/office/drawing/2014/main" id="{EC4FA645-2749-DB40-B3CB-59ACB11BF6B8}"/>
                </a:ext>
              </a:extLst>
            </p:cNvPr>
            <p:cNvSpPr/>
            <p:nvPr/>
          </p:nvSpPr>
          <p:spPr>
            <a:xfrm>
              <a:off x="3645226" y="4963293"/>
              <a:ext cx="238125" cy="238125"/>
            </a:xfrm>
            <a:custGeom>
              <a:avLst/>
              <a:gdLst>
                <a:gd name="connsiteX0" fmla="*/ 115053 w 238125"/>
                <a:gd name="connsiteY0" fmla="*/ 231832 h 238125"/>
                <a:gd name="connsiteX1" fmla="*/ 113910 w 238125"/>
                <a:gd name="connsiteY1" fmla="*/ 231832 h 238125"/>
                <a:gd name="connsiteX2" fmla="*/ 87907 w 238125"/>
                <a:gd name="connsiteY2" fmla="*/ 227165 h 238125"/>
                <a:gd name="connsiteX3" fmla="*/ 79716 w 238125"/>
                <a:gd name="connsiteY3" fmla="*/ 224308 h 238125"/>
                <a:gd name="connsiteX4" fmla="*/ 73905 w 238125"/>
                <a:gd name="connsiteY4" fmla="*/ 215545 h 238125"/>
                <a:gd name="connsiteX5" fmla="*/ 74382 w 238125"/>
                <a:gd name="connsiteY5" fmla="*/ 202210 h 238125"/>
                <a:gd name="connsiteX6" fmla="*/ 59618 w 238125"/>
                <a:gd name="connsiteY6" fmla="*/ 192113 h 238125"/>
                <a:gd name="connsiteX7" fmla="*/ 48378 w 238125"/>
                <a:gd name="connsiteY7" fmla="*/ 197066 h 238125"/>
                <a:gd name="connsiteX8" fmla="*/ 36186 w 238125"/>
                <a:gd name="connsiteY8" fmla="*/ 194304 h 238125"/>
                <a:gd name="connsiteX9" fmla="*/ 17136 w 238125"/>
                <a:gd name="connsiteY9" fmla="*/ 165729 h 238125"/>
                <a:gd name="connsiteX10" fmla="*/ 18184 w 238125"/>
                <a:gd name="connsiteY10" fmla="*/ 155632 h 238125"/>
                <a:gd name="connsiteX11" fmla="*/ 28662 w 238125"/>
                <a:gd name="connsiteY11" fmla="*/ 146107 h 238125"/>
                <a:gd name="connsiteX12" fmla="*/ 25233 w 238125"/>
                <a:gd name="connsiteY12" fmla="*/ 128010 h 238125"/>
                <a:gd name="connsiteX13" fmla="*/ 10945 w 238125"/>
                <a:gd name="connsiteY13" fmla="*/ 122676 h 238125"/>
                <a:gd name="connsiteX14" fmla="*/ 8564 w 238125"/>
                <a:gd name="connsiteY14" fmla="*/ 119723 h 238125"/>
                <a:gd name="connsiteX15" fmla="*/ 7326 w 238125"/>
                <a:gd name="connsiteY15" fmla="*/ 113437 h 238125"/>
                <a:gd name="connsiteX16" fmla="*/ 7326 w 238125"/>
                <a:gd name="connsiteY16" fmla="*/ 108484 h 238125"/>
                <a:gd name="connsiteX17" fmla="*/ 7992 w 238125"/>
                <a:gd name="connsiteY17" fmla="*/ 102578 h 238125"/>
                <a:gd name="connsiteX18" fmla="*/ 14088 w 238125"/>
                <a:gd name="connsiteY18" fmla="*/ 79813 h 238125"/>
                <a:gd name="connsiteX19" fmla="*/ 23613 w 238125"/>
                <a:gd name="connsiteY19" fmla="*/ 73527 h 238125"/>
                <a:gd name="connsiteX20" fmla="*/ 36186 w 238125"/>
                <a:gd name="connsiteY20" fmla="*/ 73527 h 238125"/>
                <a:gd name="connsiteX21" fmla="*/ 36758 w 238125"/>
                <a:gd name="connsiteY21" fmla="*/ 72670 h 238125"/>
                <a:gd name="connsiteX22" fmla="*/ 36758 w 238125"/>
                <a:gd name="connsiteY22" fmla="*/ 71812 h 238125"/>
                <a:gd name="connsiteX23" fmla="*/ 46283 w 238125"/>
                <a:gd name="connsiteY23" fmla="*/ 58573 h 238125"/>
                <a:gd name="connsiteX24" fmla="*/ 42568 w 238125"/>
                <a:gd name="connsiteY24" fmla="*/ 50191 h 238125"/>
                <a:gd name="connsiteX25" fmla="*/ 41330 w 238125"/>
                <a:gd name="connsiteY25" fmla="*/ 47238 h 238125"/>
                <a:gd name="connsiteX26" fmla="*/ 43902 w 238125"/>
                <a:gd name="connsiteY26" fmla="*/ 35332 h 238125"/>
                <a:gd name="connsiteX27" fmla="*/ 61904 w 238125"/>
                <a:gd name="connsiteY27" fmla="*/ 22378 h 238125"/>
                <a:gd name="connsiteX28" fmla="*/ 69333 w 238125"/>
                <a:gd name="connsiteY28" fmla="*/ 18568 h 238125"/>
                <a:gd name="connsiteX29" fmla="*/ 73239 w 238125"/>
                <a:gd name="connsiteY29" fmla="*/ 16663 h 238125"/>
                <a:gd name="connsiteX30" fmla="*/ 83907 w 238125"/>
                <a:gd name="connsiteY30" fmla="*/ 18949 h 238125"/>
                <a:gd name="connsiteX31" fmla="*/ 92670 w 238125"/>
                <a:gd name="connsiteY31" fmla="*/ 28474 h 238125"/>
                <a:gd name="connsiteX32" fmla="*/ 110481 w 238125"/>
                <a:gd name="connsiteY32" fmla="*/ 25140 h 238125"/>
                <a:gd name="connsiteX33" fmla="*/ 111053 w 238125"/>
                <a:gd name="connsiteY33" fmla="*/ 23806 h 238125"/>
                <a:gd name="connsiteX34" fmla="*/ 115339 w 238125"/>
                <a:gd name="connsiteY34" fmla="*/ 13138 h 238125"/>
                <a:gd name="connsiteX35" fmla="*/ 125436 w 238125"/>
                <a:gd name="connsiteY35" fmla="*/ 7328 h 238125"/>
                <a:gd name="connsiteX36" fmla="*/ 130008 w 238125"/>
                <a:gd name="connsiteY36" fmla="*/ 7804 h 238125"/>
                <a:gd name="connsiteX37" fmla="*/ 140961 w 238125"/>
                <a:gd name="connsiteY37" fmla="*/ 9233 h 238125"/>
                <a:gd name="connsiteX38" fmla="*/ 158868 w 238125"/>
                <a:gd name="connsiteY38" fmla="*/ 14472 h 238125"/>
                <a:gd name="connsiteX39" fmla="*/ 165155 w 238125"/>
                <a:gd name="connsiteY39" fmla="*/ 23997 h 238125"/>
                <a:gd name="connsiteX40" fmla="*/ 164583 w 238125"/>
                <a:gd name="connsiteY40" fmla="*/ 35713 h 238125"/>
                <a:gd name="connsiteX41" fmla="*/ 164583 w 238125"/>
                <a:gd name="connsiteY41" fmla="*/ 37332 h 238125"/>
                <a:gd name="connsiteX42" fmla="*/ 179347 w 238125"/>
                <a:gd name="connsiteY42" fmla="*/ 47619 h 238125"/>
                <a:gd name="connsiteX43" fmla="*/ 197540 w 238125"/>
                <a:gd name="connsiteY43" fmla="*/ 39523 h 238125"/>
                <a:gd name="connsiteX44" fmla="*/ 204874 w 238125"/>
                <a:gd name="connsiteY44" fmla="*/ 47905 h 238125"/>
                <a:gd name="connsiteX45" fmla="*/ 210113 w 238125"/>
                <a:gd name="connsiteY45" fmla="*/ 55048 h 238125"/>
                <a:gd name="connsiteX46" fmla="*/ 222876 w 238125"/>
                <a:gd name="connsiteY46" fmla="*/ 75432 h 238125"/>
                <a:gd name="connsiteX47" fmla="*/ 219828 w 238125"/>
                <a:gd name="connsiteY47" fmla="*/ 86100 h 238125"/>
                <a:gd name="connsiteX48" fmla="*/ 216399 w 238125"/>
                <a:gd name="connsiteY48" fmla="*/ 89148 h 238125"/>
                <a:gd name="connsiteX49" fmla="*/ 210780 w 238125"/>
                <a:gd name="connsiteY49" fmla="*/ 94482 h 238125"/>
                <a:gd name="connsiteX50" fmla="*/ 214209 w 238125"/>
                <a:gd name="connsiteY50" fmla="*/ 112198 h 238125"/>
                <a:gd name="connsiteX51" fmla="*/ 232401 w 238125"/>
                <a:gd name="connsiteY51" fmla="*/ 118485 h 238125"/>
                <a:gd name="connsiteX52" fmla="*/ 232401 w 238125"/>
                <a:gd name="connsiteY52" fmla="*/ 124105 h 238125"/>
                <a:gd name="connsiteX53" fmla="*/ 225162 w 238125"/>
                <a:gd name="connsiteY53" fmla="*/ 159538 h 238125"/>
                <a:gd name="connsiteX54" fmla="*/ 225162 w 238125"/>
                <a:gd name="connsiteY54" fmla="*/ 161633 h 238125"/>
                <a:gd name="connsiteX55" fmla="*/ 222400 w 238125"/>
                <a:gd name="connsiteY55" fmla="*/ 164300 h 238125"/>
                <a:gd name="connsiteX56" fmla="*/ 216304 w 238125"/>
                <a:gd name="connsiteY56" fmla="*/ 166110 h 238125"/>
                <a:gd name="connsiteX57" fmla="*/ 216304 w 238125"/>
                <a:gd name="connsiteY57" fmla="*/ 166110 h 238125"/>
                <a:gd name="connsiteX58" fmla="*/ 202874 w 238125"/>
                <a:gd name="connsiteY58" fmla="*/ 164967 h 238125"/>
                <a:gd name="connsiteX59" fmla="*/ 192682 w 238125"/>
                <a:gd name="connsiteY59" fmla="*/ 179921 h 238125"/>
                <a:gd name="connsiteX60" fmla="*/ 194778 w 238125"/>
                <a:gd name="connsiteY60" fmla="*/ 184588 h 238125"/>
                <a:gd name="connsiteX61" fmla="*/ 198016 w 238125"/>
                <a:gd name="connsiteY61" fmla="*/ 191923 h 238125"/>
                <a:gd name="connsiteX62" fmla="*/ 196397 w 238125"/>
                <a:gd name="connsiteY62" fmla="*/ 201448 h 238125"/>
                <a:gd name="connsiteX63" fmla="*/ 195349 w 238125"/>
                <a:gd name="connsiteY63" fmla="*/ 202495 h 238125"/>
                <a:gd name="connsiteX64" fmla="*/ 192111 w 238125"/>
                <a:gd name="connsiteY64" fmla="*/ 205067 h 238125"/>
                <a:gd name="connsiteX65" fmla="*/ 183348 w 238125"/>
                <a:gd name="connsiteY65" fmla="*/ 211639 h 238125"/>
                <a:gd name="connsiteX66" fmla="*/ 166107 w 238125"/>
                <a:gd name="connsiteY66" fmla="*/ 221164 h 238125"/>
                <a:gd name="connsiteX67" fmla="*/ 155249 w 238125"/>
                <a:gd name="connsiteY67" fmla="*/ 219164 h 238125"/>
                <a:gd name="connsiteX68" fmla="*/ 152391 w 238125"/>
                <a:gd name="connsiteY68" fmla="*/ 215926 h 238125"/>
                <a:gd name="connsiteX69" fmla="*/ 146867 w 238125"/>
                <a:gd name="connsiteY69" fmla="*/ 209830 h 238125"/>
                <a:gd name="connsiteX70" fmla="*/ 141723 w 238125"/>
                <a:gd name="connsiteY70" fmla="*/ 211163 h 238125"/>
                <a:gd name="connsiteX71" fmla="*/ 128484 w 238125"/>
                <a:gd name="connsiteY71" fmla="*/ 213259 h 238125"/>
                <a:gd name="connsiteX72" fmla="*/ 123435 w 238125"/>
                <a:gd name="connsiteY72" fmla="*/ 225546 h 238125"/>
                <a:gd name="connsiteX73" fmla="*/ 115053 w 238125"/>
                <a:gd name="connsiteY73" fmla="*/ 231833 h 238125"/>
                <a:gd name="connsiteX74" fmla="*/ 110386 w 238125"/>
                <a:gd name="connsiteY74" fmla="*/ 220498 h 238125"/>
                <a:gd name="connsiteX75" fmla="*/ 110386 w 238125"/>
                <a:gd name="connsiteY75" fmla="*/ 221355 h 238125"/>
                <a:gd name="connsiteX76" fmla="*/ 88193 w 238125"/>
                <a:gd name="connsiteY76" fmla="*/ 212211 h 238125"/>
                <a:gd name="connsiteX77" fmla="*/ 92289 w 238125"/>
                <a:gd name="connsiteY77" fmla="*/ 213640 h 238125"/>
                <a:gd name="connsiteX78" fmla="*/ 111339 w 238125"/>
                <a:gd name="connsiteY78" fmla="*/ 217354 h 238125"/>
                <a:gd name="connsiteX79" fmla="*/ 117054 w 238125"/>
                <a:gd name="connsiteY79" fmla="*/ 203734 h 238125"/>
                <a:gd name="connsiteX80" fmla="*/ 122959 w 238125"/>
                <a:gd name="connsiteY80" fmla="*/ 199924 h 238125"/>
                <a:gd name="connsiteX81" fmla="*/ 138104 w 238125"/>
                <a:gd name="connsiteY81" fmla="*/ 197923 h 238125"/>
                <a:gd name="connsiteX82" fmla="*/ 144486 w 238125"/>
                <a:gd name="connsiteY82" fmla="*/ 196114 h 238125"/>
                <a:gd name="connsiteX83" fmla="*/ 154011 w 238125"/>
                <a:gd name="connsiteY83" fmla="*/ 197257 h 238125"/>
                <a:gd name="connsiteX84" fmla="*/ 154868 w 238125"/>
                <a:gd name="connsiteY84" fmla="*/ 198019 h 238125"/>
                <a:gd name="connsiteX85" fmla="*/ 162774 w 238125"/>
                <a:gd name="connsiteY85" fmla="*/ 206972 h 238125"/>
                <a:gd name="connsiteX86" fmla="*/ 162774 w 238125"/>
                <a:gd name="connsiteY86" fmla="*/ 206972 h 238125"/>
                <a:gd name="connsiteX87" fmla="*/ 174870 w 238125"/>
                <a:gd name="connsiteY87" fmla="*/ 200019 h 238125"/>
                <a:gd name="connsiteX88" fmla="*/ 182776 w 238125"/>
                <a:gd name="connsiteY88" fmla="*/ 194018 h 238125"/>
                <a:gd name="connsiteX89" fmla="*/ 182776 w 238125"/>
                <a:gd name="connsiteY89" fmla="*/ 194018 h 238125"/>
                <a:gd name="connsiteX90" fmla="*/ 181062 w 238125"/>
                <a:gd name="connsiteY90" fmla="*/ 190018 h 238125"/>
                <a:gd name="connsiteX91" fmla="*/ 177918 w 238125"/>
                <a:gd name="connsiteY91" fmla="*/ 182969 h 238125"/>
                <a:gd name="connsiteX92" fmla="*/ 178585 w 238125"/>
                <a:gd name="connsiteY92" fmla="*/ 173444 h 238125"/>
                <a:gd name="connsiteX93" fmla="*/ 190682 w 238125"/>
                <a:gd name="connsiteY93" fmla="*/ 156204 h 238125"/>
                <a:gd name="connsiteX94" fmla="*/ 201921 w 238125"/>
                <a:gd name="connsiteY94" fmla="*/ 150394 h 238125"/>
                <a:gd name="connsiteX95" fmla="*/ 212304 w 238125"/>
                <a:gd name="connsiteY95" fmla="*/ 150394 h 238125"/>
                <a:gd name="connsiteX96" fmla="*/ 217257 w 238125"/>
                <a:gd name="connsiteY96" fmla="*/ 127153 h 238125"/>
                <a:gd name="connsiteX97" fmla="*/ 205160 w 238125"/>
                <a:gd name="connsiteY97" fmla="*/ 122676 h 238125"/>
                <a:gd name="connsiteX98" fmla="*/ 199731 w 238125"/>
                <a:gd name="connsiteY98" fmla="*/ 114389 h 238125"/>
                <a:gd name="connsiteX99" fmla="*/ 195730 w 238125"/>
                <a:gd name="connsiteY99" fmla="*/ 94101 h 238125"/>
                <a:gd name="connsiteX100" fmla="*/ 198588 w 238125"/>
                <a:gd name="connsiteY100" fmla="*/ 84576 h 238125"/>
                <a:gd name="connsiteX101" fmla="*/ 206112 w 238125"/>
                <a:gd name="connsiteY101" fmla="*/ 77527 h 238125"/>
                <a:gd name="connsiteX102" fmla="*/ 207636 w 238125"/>
                <a:gd name="connsiteY102" fmla="*/ 76099 h 238125"/>
                <a:gd name="connsiteX103" fmla="*/ 199254 w 238125"/>
                <a:gd name="connsiteY103" fmla="*/ 62002 h 238125"/>
                <a:gd name="connsiteX104" fmla="*/ 194587 w 238125"/>
                <a:gd name="connsiteY104" fmla="*/ 55620 h 238125"/>
                <a:gd name="connsiteX105" fmla="*/ 182967 w 238125"/>
                <a:gd name="connsiteY105" fmla="*/ 60668 h 238125"/>
                <a:gd name="connsiteX106" fmla="*/ 174299 w 238125"/>
                <a:gd name="connsiteY106" fmla="*/ 60097 h 238125"/>
                <a:gd name="connsiteX107" fmla="*/ 155916 w 238125"/>
                <a:gd name="connsiteY107" fmla="*/ 47238 h 238125"/>
                <a:gd name="connsiteX108" fmla="*/ 151058 w 238125"/>
                <a:gd name="connsiteY108" fmla="*/ 37713 h 238125"/>
                <a:gd name="connsiteX109" fmla="*/ 151058 w 238125"/>
                <a:gd name="connsiteY109" fmla="*/ 33712 h 238125"/>
                <a:gd name="connsiteX110" fmla="*/ 151058 w 238125"/>
                <a:gd name="connsiteY110" fmla="*/ 25902 h 238125"/>
                <a:gd name="connsiteX111" fmla="*/ 138675 w 238125"/>
                <a:gd name="connsiteY111" fmla="*/ 22473 h 238125"/>
                <a:gd name="connsiteX112" fmla="*/ 128579 w 238125"/>
                <a:gd name="connsiteY112" fmla="*/ 21139 h 238125"/>
                <a:gd name="connsiteX113" fmla="*/ 127436 w 238125"/>
                <a:gd name="connsiteY113" fmla="*/ 21139 h 238125"/>
                <a:gd name="connsiteX114" fmla="*/ 124388 w 238125"/>
                <a:gd name="connsiteY114" fmla="*/ 28664 h 238125"/>
                <a:gd name="connsiteX115" fmla="*/ 123054 w 238125"/>
                <a:gd name="connsiteY115" fmla="*/ 31807 h 238125"/>
                <a:gd name="connsiteX116" fmla="*/ 113529 w 238125"/>
                <a:gd name="connsiteY116" fmla="*/ 38380 h 238125"/>
                <a:gd name="connsiteX117" fmla="*/ 94479 w 238125"/>
                <a:gd name="connsiteY117" fmla="*/ 42285 h 238125"/>
                <a:gd name="connsiteX118" fmla="*/ 84954 w 238125"/>
                <a:gd name="connsiteY118" fmla="*/ 39332 h 238125"/>
                <a:gd name="connsiteX119" fmla="*/ 76763 w 238125"/>
                <a:gd name="connsiteY119" fmla="*/ 30569 h 238125"/>
                <a:gd name="connsiteX120" fmla="*/ 76763 w 238125"/>
                <a:gd name="connsiteY120" fmla="*/ 30569 h 238125"/>
                <a:gd name="connsiteX121" fmla="*/ 70095 w 238125"/>
                <a:gd name="connsiteY121" fmla="*/ 33998 h 238125"/>
                <a:gd name="connsiteX122" fmla="*/ 56570 w 238125"/>
                <a:gd name="connsiteY122" fmla="*/ 43523 h 238125"/>
                <a:gd name="connsiteX123" fmla="*/ 56570 w 238125"/>
                <a:gd name="connsiteY123" fmla="*/ 43523 h 238125"/>
                <a:gd name="connsiteX124" fmla="*/ 61047 w 238125"/>
                <a:gd name="connsiteY124" fmla="*/ 53715 h 238125"/>
                <a:gd name="connsiteX125" fmla="*/ 59999 w 238125"/>
                <a:gd name="connsiteY125" fmla="*/ 66859 h 238125"/>
                <a:gd name="connsiteX126" fmla="*/ 50474 w 238125"/>
                <a:gd name="connsiteY126" fmla="*/ 79337 h 238125"/>
                <a:gd name="connsiteX127" fmla="*/ 50474 w 238125"/>
                <a:gd name="connsiteY127" fmla="*/ 80099 h 238125"/>
                <a:gd name="connsiteX128" fmla="*/ 48950 w 238125"/>
                <a:gd name="connsiteY128" fmla="*/ 82957 h 238125"/>
                <a:gd name="connsiteX129" fmla="*/ 39425 w 238125"/>
                <a:gd name="connsiteY129" fmla="*/ 88100 h 238125"/>
                <a:gd name="connsiteX130" fmla="*/ 27614 w 238125"/>
                <a:gd name="connsiteY130" fmla="*/ 88100 h 238125"/>
                <a:gd name="connsiteX131" fmla="*/ 23423 w 238125"/>
                <a:gd name="connsiteY131" fmla="*/ 104769 h 238125"/>
                <a:gd name="connsiteX132" fmla="*/ 22756 w 238125"/>
                <a:gd name="connsiteY132" fmla="*/ 110198 h 238125"/>
                <a:gd name="connsiteX133" fmla="*/ 22756 w 238125"/>
                <a:gd name="connsiteY133" fmla="*/ 111532 h 238125"/>
                <a:gd name="connsiteX134" fmla="*/ 34091 w 238125"/>
                <a:gd name="connsiteY134" fmla="*/ 116104 h 238125"/>
                <a:gd name="connsiteX135" fmla="*/ 40092 w 238125"/>
                <a:gd name="connsiteY135" fmla="*/ 124486 h 238125"/>
                <a:gd name="connsiteX136" fmla="*/ 43330 w 238125"/>
                <a:gd name="connsiteY136" fmla="*/ 142678 h 238125"/>
                <a:gd name="connsiteX137" fmla="*/ 43997 w 238125"/>
                <a:gd name="connsiteY137" fmla="*/ 145155 h 238125"/>
                <a:gd name="connsiteX138" fmla="*/ 41425 w 238125"/>
                <a:gd name="connsiteY138" fmla="*/ 154680 h 238125"/>
                <a:gd name="connsiteX139" fmla="*/ 31900 w 238125"/>
                <a:gd name="connsiteY139" fmla="*/ 162871 h 238125"/>
                <a:gd name="connsiteX140" fmla="*/ 45140 w 238125"/>
                <a:gd name="connsiteY140" fmla="*/ 183255 h 238125"/>
                <a:gd name="connsiteX141" fmla="*/ 56379 w 238125"/>
                <a:gd name="connsiteY141" fmla="*/ 178302 h 238125"/>
                <a:gd name="connsiteX142" fmla="*/ 65904 w 238125"/>
                <a:gd name="connsiteY142" fmla="*/ 178873 h 238125"/>
                <a:gd name="connsiteX143" fmla="*/ 82954 w 238125"/>
                <a:gd name="connsiteY143" fmla="*/ 190970 h 238125"/>
                <a:gd name="connsiteX144" fmla="*/ 88860 w 238125"/>
                <a:gd name="connsiteY144" fmla="*/ 202495 h 238125"/>
                <a:gd name="connsiteX145" fmla="*/ 88574 w 238125"/>
                <a:gd name="connsiteY145" fmla="*/ 212211 h 238125"/>
                <a:gd name="connsiteX146" fmla="*/ 83811 w 238125"/>
                <a:gd name="connsiteY146" fmla="*/ 210687 h 238125"/>
                <a:gd name="connsiteX147" fmla="*/ 84573 w 238125"/>
                <a:gd name="connsiteY147" fmla="*/ 210687 h 238125"/>
                <a:gd name="connsiteX148" fmla="*/ 76096 w 238125"/>
                <a:gd name="connsiteY148" fmla="*/ 203067 h 238125"/>
                <a:gd name="connsiteX149" fmla="*/ 76953 w 238125"/>
                <a:gd name="connsiteY149" fmla="*/ 203067 h 238125"/>
                <a:gd name="connsiteX150" fmla="*/ 74667 w 238125"/>
                <a:gd name="connsiteY150" fmla="*/ 199924 h 238125"/>
                <a:gd name="connsiteX151" fmla="*/ 74667 w 238125"/>
                <a:gd name="connsiteY151" fmla="*/ 199924 h 238125"/>
                <a:gd name="connsiteX152" fmla="*/ 204112 w 238125"/>
                <a:gd name="connsiteY152" fmla="*/ 162586 h 238125"/>
                <a:gd name="connsiteX153" fmla="*/ 204112 w 238125"/>
                <a:gd name="connsiteY153" fmla="*/ 163252 h 238125"/>
                <a:gd name="connsiteX154" fmla="*/ 204112 w 238125"/>
                <a:gd name="connsiteY154" fmla="*/ 162586 h 238125"/>
                <a:gd name="connsiteX155" fmla="*/ 25518 w 238125"/>
                <a:gd name="connsiteY155" fmla="*/ 124486 h 238125"/>
                <a:gd name="connsiteX156" fmla="*/ 25518 w 238125"/>
                <a:gd name="connsiteY156" fmla="*/ 124486 h 238125"/>
                <a:gd name="connsiteX157" fmla="*/ 21899 w 238125"/>
                <a:gd name="connsiteY157" fmla="*/ 114961 h 238125"/>
                <a:gd name="connsiteX158" fmla="*/ 21899 w 238125"/>
                <a:gd name="connsiteY158" fmla="*/ 114961 h 238125"/>
                <a:gd name="connsiteX159" fmla="*/ 214399 w 238125"/>
                <a:gd name="connsiteY159" fmla="*/ 114484 h 238125"/>
                <a:gd name="connsiteX160" fmla="*/ 214399 w 238125"/>
                <a:gd name="connsiteY160" fmla="*/ 114484 h 238125"/>
                <a:gd name="connsiteX161" fmla="*/ 209732 w 238125"/>
                <a:gd name="connsiteY161" fmla="*/ 90481 h 238125"/>
                <a:gd name="connsiteX162" fmla="*/ 209732 w 238125"/>
                <a:gd name="connsiteY162" fmla="*/ 90481 h 238125"/>
                <a:gd name="connsiteX163" fmla="*/ 209732 w 238125"/>
                <a:gd name="connsiteY163" fmla="*/ 80194 h 238125"/>
                <a:gd name="connsiteX164" fmla="*/ 210208 w 238125"/>
                <a:gd name="connsiteY164" fmla="*/ 81147 h 238125"/>
                <a:gd name="connsiteX165" fmla="*/ 209637 w 238125"/>
                <a:gd name="connsiteY165" fmla="*/ 80194 h 238125"/>
                <a:gd name="connsiteX166" fmla="*/ 35901 w 238125"/>
                <a:gd name="connsiteY166" fmla="*/ 76575 h 238125"/>
                <a:gd name="connsiteX167" fmla="*/ 35901 w 238125"/>
                <a:gd name="connsiteY167" fmla="*/ 76575 h 238125"/>
                <a:gd name="connsiteX168" fmla="*/ 211446 w 238125"/>
                <a:gd name="connsiteY168" fmla="*/ 74194 h 238125"/>
                <a:gd name="connsiteX169" fmla="*/ 210875 w 238125"/>
                <a:gd name="connsiteY169" fmla="*/ 74194 h 238125"/>
                <a:gd name="connsiteX170" fmla="*/ 48569 w 238125"/>
                <a:gd name="connsiteY170" fmla="*/ 60763 h 238125"/>
                <a:gd name="connsiteX171" fmla="*/ 48569 w 238125"/>
                <a:gd name="connsiteY171" fmla="*/ 61716 h 238125"/>
                <a:gd name="connsiteX172" fmla="*/ 49236 w 238125"/>
                <a:gd name="connsiteY172" fmla="*/ 57049 h 238125"/>
                <a:gd name="connsiteX173" fmla="*/ 49236 w 238125"/>
                <a:gd name="connsiteY173" fmla="*/ 57049 h 238125"/>
                <a:gd name="connsiteX174" fmla="*/ 165822 w 238125"/>
                <a:gd name="connsiteY174" fmla="*/ 39523 h 238125"/>
                <a:gd name="connsiteX175" fmla="*/ 165822 w 238125"/>
                <a:gd name="connsiteY175" fmla="*/ 40094 h 238125"/>
                <a:gd name="connsiteX176" fmla="*/ 165822 w 238125"/>
                <a:gd name="connsiteY176" fmla="*/ 39523 h 238125"/>
                <a:gd name="connsiteX177" fmla="*/ 162774 w 238125"/>
                <a:gd name="connsiteY177" fmla="*/ 35332 h 238125"/>
                <a:gd name="connsiteX178" fmla="*/ 163345 w 238125"/>
                <a:gd name="connsiteY178" fmla="*/ 35332 h 238125"/>
                <a:gd name="connsiteX179" fmla="*/ 81430 w 238125"/>
                <a:gd name="connsiteY179" fmla="*/ 29712 h 238125"/>
                <a:gd name="connsiteX180" fmla="*/ 80859 w 238125"/>
                <a:gd name="connsiteY180" fmla="*/ 29712 h 238125"/>
                <a:gd name="connsiteX181" fmla="*/ 114482 w 238125"/>
                <a:gd name="connsiteY181" fmla="*/ 25521 h 238125"/>
                <a:gd name="connsiteX182" fmla="*/ 114482 w 238125"/>
                <a:gd name="connsiteY182" fmla="*/ 25521 h 238125"/>
                <a:gd name="connsiteX183" fmla="*/ 124674 w 238125"/>
                <a:gd name="connsiteY183" fmla="*/ 21901 h 238125"/>
                <a:gd name="connsiteX184" fmla="*/ 124674 w 238125"/>
                <a:gd name="connsiteY184" fmla="*/ 21901 h 238125"/>
                <a:gd name="connsiteX185" fmla="*/ 130293 w 238125"/>
                <a:gd name="connsiteY185" fmla="*/ 17901 h 238125"/>
                <a:gd name="connsiteX186" fmla="*/ 130293 w 238125"/>
                <a:gd name="connsiteY186" fmla="*/ 19044 h 238125"/>
                <a:gd name="connsiteX187" fmla="*/ 130293 w 238125"/>
                <a:gd name="connsiteY187" fmla="*/ 1761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</a:cxnLst>
              <a:rect l="l" t="t" r="r" b="b"/>
              <a:pathLst>
                <a:path w="238125" h="238125">
                  <a:moveTo>
                    <a:pt x="115053" y="231832"/>
                  </a:moveTo>
                  <a:lnTo>
                    <a:pt x="113910" y="231832"/>
                  </a:lnTo>
                  <a:cubicBezTo>
                    <a:pt x="105087" y="231322"/>
                    <a:pt x="96357" y="229755"/>
                    <a:pt x="87907" y="227165"/>
                  </a:cubicBezTo>
                  <a:lnTo>
                    <a:pt x="79716" y="224308"/>
                  </a:lnTo>
                  <a:cubicBezTo>
                    <a:pt x="75912" y="223179"/>
                    <a:pt x="73465" y="219487"/>
                    <a:pt x="73905" y="215545"/>
                  </a:cubicBezTo>
                  <a:cubicBezTo>
                    <a:pt x="73905" y="211163"/>
                    <a:pt x="73905" y="206782"/>
                    <a:pt x="74382" y="202210"/>
                  </a:cubicBezTo>
                  <a:cubicBezTo>
                    <a:pt x="69164" y="199300"/>
                    <a:pt x="64222" y="195921"/>
                    <a:pt x="59618" y="192113"/>
                  </a:cubicBezTo>
                  <a:lnTo>
                    <a:pt x="48378" y="197066"/>
                  </a:lnTo>
                  <a:cubicBezTo>
                    <a:pt x="44238" y="199604"/>
                    <a:pt x="38829" y="198379"/>
                    <a:pt x="36186" y="194304"/>
                  </a:cubicBezTo>
                  <a:cubicBezTo>
                    <a:pt x="28362" y="185849"/>
                    <a:pt x="21932" y="176203"/>
                    <a:pt x="17136" y="165729"/>
                  </a:cubicBezTo>
                  <a:cubicBezTo>
                    <a:pt x="15107" y="162526"/>
                    <a:pt x="15540" y="158350"/>
                    <a:pt x="18184" y="155632"/>
                  </a:cubicBezTo>
                  <a:lnTo>
                    <a:pt x="28662" y="146107"/>
                  </a:lnTo>
                  <a:cubicBezTo>
                    <a:pt x="26969" y="140192"/>
                    <a:pt x="25821" y="134134"/>
                    <a:pt x="25233" y="128010"/>
                  </a:cubicBezTo>
                  <a:lnTo>
                    <a:pt x="10945" y="122676"/>
                  </a:lnTo>
                  <a:lnTo>
                    <a:pt x="8564" y="119723"/>
                  </a:lnTo>
                  <a:cubicBezTo>
                    <a:pt x="7304" y="117887"/>
                    <a:pt x="6856" y="115613"/>
                    <a:pt x="7326" y="113437"/>
                  </a:cubicBezTo>
                  <a:cubicBezTo>
                    <a:pt x="7326" y="112103"/>
                    <a:pt x="7326" y="110293"/>
                    <a:pt x="7326" y="108484"/>
                  </a:cubicBezTo>
                  <a:cubicBezTo>
                    <a:pt x="7326" y="106674"/>
                    <a:pt x="7326" y="104483"/>
                    <a:pt x="7992" y="102578"/>
                  </a:cubicBezTo>
                  <a:cubicBezTo>
                    <a:pt x="9180" y="94789"/>
                    <a:pt x="11224" y="87154"/>
                    <a:pt x="14088" y="79813"/>
                  </a:cubicBezTo>
                  <a:cubicBezTo>
                    <a:pt x="15205" y="75602"/>
                    <a:pt x="19302" y="72897"/>
                    <a:pt x="23613" y="73527"/>
                  </a:cubicBezTo>
                  <a:lnTo>
                    <a:pt x="36186" y="73527"/>
                  </a:lnTo>
                  <a:lnTo>
                    <a:pt x="36758" y="72670"/>
                  </a:lnTo>
                  <a:lnTo>
                    <a:pt x="36758" y="71812"/>
                  </a:lnTo>
                  <a:cubicBezTo>
                    <a:pt x="39538" y="67128"/>
                    <a:pt x="42725" y="62697"/>
                    <a:pt x="46283" y="58573"/>
                  </a:cubicBezTo>
                  <a:cubicBezTo>
                    <a:pt x="44854" y="55525"/>
                    <a:pt x="43711" y="52858"/>
                    <a:pt x="42568" y="50191"/>
                  </a:cubicBezTo>
                  <a:lnTo>
                    <a:pt x="41330" y="47238"/>
                  </a:lnTo>
                  <a:cubicBezTo>
                    <a:pt x="39206" y="43168"/>
                    <a:pt x="40287" y="38162"/>
                    <a:pt x="43902" y="35332"/>
                  </a:cubicBezTo>
                  <a:cubicBezTo>
                    <a:pt x="49454" y="30422"/>
                    <a:pt x="55485" y="26083"/>
                    <a:pt x="61904" y="22378"/>
                  </a:cubicBezTo>
                  <a:cubicBezTo>
                    <a:pt x="64285" y="21044"/>
                    <a:pt x="66857" y="19806"/>
                    <a:pt x="69333" y="18568"/>
                  </a:cubicBezTo>
                  <a:lnTo>
                    <a:pt x="73239" y="16663"/>
                  </a:lnTo>
                  <a:cubicBezTo>
                    <a:pt x="76872" y="14689"/>
                    <a:pt x="81401" y="15660"/>
                    <a:pt x="83907" y="18949"/>
                  </a:cubicBezTo>
                  <a:lnTo>
                    <a:pt x="92670" y="28474"/>
                  </a:lnTo>
                  <a:cubicBezTo>
                    <a:pt x="98497" y="26841"/>
                    <a:pt x="104458" y="25726"/>
                    <a:pt x="110481" y="25140"/>
                  </a:cubicBezTo>
                  <a:lnTo>
                    <a:pt x="111053" y="23806"/>
                  </a:lnTo>
                  <a:cubicBezTo>
                    <a:pt x="112482" y="20282"/>
                    <a:pt x="114006" y="16853"/>
                    <a:pt x="115339" y="13138"/>
                  </a:cubicBezTo>
                  <a:cubicBezTo>
                    <a:pt x="116744" y="8921"/>
                    <a:pt x="121084" y="6424"/>
                    <a:pt x="125436" y="7328"/>
                  </a:cubicBezTo>
                  <a:lnTo>
                    <a:pt x="130008" y="7804"/>
                  </a:lnTo>
                  <a:cubicBezTo>
                    <a:pt x="133627" y="7804"/>
                    <a:pt x="137342" y="8662"/>
                    <a:pt x="140961" y="9233"/>
                  </a:cubicBezTo>
                  <a:cubicBezTo>
                    <a:pt x="147078" y="10429"/>
                    <a:pt x="153072" y="12182"/>
                    <a:pt x="158868" y="14472"/>
                  </a:cubicBezTo>
                  <a:cubicBezTo>
                    <a:pt x="162845" y="15901"/>
                    <a:pt x="165404" y="19779"/>
                    <a:pt x="165155" y="23997"/>
                  </a:cubicBezTo>
                  <a:cubicBezTo>
                    <a:pt x="165155" y="27934"/>
                    <a:pt x="164964" y="31839"/>
                    <a:pt x="164583" y="35713"/>
                  </a:cubicBezTo>
                  <a:lnTo>
                    <a:pt x="164583" y="37332"/>
                  </a:lnTo>
                  <a:cubicBezTo>
                    <a:pt x="169798" y="40319"/>
                    <a:pt x="174739" y="43761"/>
                    <a:pt x="179347" y="47619"/>
                  </a:cubicBezTo>
                  <a:lnTo>
                    <a:pt x="197540" y="39523"/>
                  </a:lnTo>
                  <a:lnTo>
                    <a:pt x="204874" y="47905"/>
                  </a:lnTo>
                  <a:cubicBezTo>
                    <a:pt x="206589" y="50191"/>
                    <a:pt x="208398" y="52477"/>
                    <a:pt x="210113" y="55048"/>
                  </a:cubicBezTo>
                  <a:cubicBezTo>
                    <a:pt x="215102" y="61354"/>
                    <a:pt x="219382" y="68190"/>
                    <a:pt x="222876" y="75432"/>
                  </a:cubicBezTo>
                  <a:cubicBezTo>
                    <a:pt x="224652" y="79251"/>
                    <a:pt x="223353" y="83795"/>
                    <a:pt x="219828" y="86100"/>
                  </a:cubicBezTo>
                  <a:lnTo>
                    <a:pt x="216399" y="89148"/>
                  </a:lnTo>
                  <a:lnTo>
                    <a:pt x="210780" y="94482"/>
                  </a:lnTo>
                  <a:cubicBezTo>
                    <a:pt x="212398" y="100286"/>
                    <a:pt x="213544" y="106210"/>
                    <a:pt x="214209" y="112198"/>
                  </a:cubicBezTo>
                  <a:lnTo>
                    <a:pt x="232401" y="118485"/>
                  </a:lnTo>
                  <a:lnTo>
                    <a:pt x="232401" y="124105"/>
                  </a:lnTo>
                  <a:cubicBezTo>
                    <a:pt x="231808" y="136216"/>
                    <a:pt x="229367" y="148165"/>
                    <a:pt x="225162" y="159538"/>
                  </a:cubicBezTo>
                  <a:lnTo>
                    <a:pt x="225162" y="161633"/>
                  </a:lnTo>
                  <a:lnTo>
                    <a:pt x="222400" y="164300"/>
                  </a:lnTo>
                  <a:cubicBezTo>
                    <a:pt x="220666" y="165645"/>
                    <a:pt x="218491" y="166291"/>
                    <a:pt x="216304" y="166110"/>
                  </a:cubicBezTo>
                  <a:lnTo>
                    <a:pt x="216304" y="166110"/>
                  </a:lnTo>
                  <a:lnTo>
                    <a:pt x="202874" y="164967"/>
                  </a:lnTo>
                  <a:cubicBezTo>
                    <a:pt x="199933" y="170248"/>
                    <a:pt x="196522" y="175253"/>
                    <a:pt x="192682" y="179921"/>
                  </a:cubicBezTo>
                  <a:lnTo>
                    <a:pt x="194778" y="184588"/>
                  </a:lnTo>
                  <a:cubicBezTo>
                    <a:pt x="195825" y="187065"/>
                    <a:pt x="196873" y="189446"/>
                    <a:pt x="198016" y="191923"/>
                  </a:cubicBezTo>
                  <a:cubicBezTo>
                    <a:pt x="199246" y="195156"/>
                    <a:pt x="198626" y="198802"/>
                    <a:pt x="196397" y="201448"/>
                  </a:cubicBezTo>
                  <a:lnTo>
                    <a:pt x="195349" y="202495"/>
                  </a:lnTo>
                  <a:lnTo>
                    <a:pt x="192111" y="205067"/>
                  </a:lnTo>
                  <a:cubicBezTo>
                    <a:pt x="189158" y="207353"/>
                    <a:pt x="186396" y="209639"/>
                    <a:pt x="183348" y="211639"/>
                  </a:cubicBezTo>
                  <a:cubicBezTo>
                    <a:pt x="177943" y="215398"/>
                    <a:pt x="172166" y="218590"/>
                    <a:pt x="166107" y="221164"/>
                  </a:cubicBezTo>
                  <a:cubicBezTo>
                    <a:pt x="162490" y="223269"/>
                    <a:pt x="157878" y="222420"/>
                    <a:pt x="155249" y="219164"/>
                  </a:cubicBezTo>
                  <a:lnTo>
                    <a:pt x="152391" y="215926"/>
                  </a:lnTo>
                  <a:cubicBezTo>
                    <a:pt x="150486" y="213925"/>
                    <a:pt x="148677" y="211830"/>
                    <a:pt x="146867" y="209830"/>
                  </a:cubicBezTo>
                  <a:lnTo>
                    <a:pt x="141723" y="211163"/>
                  </a:lnTo>
                  <a:cubicBezTo>
                    <a:pt x="137370" y="212201"/>
                    <a:pt x="132944" y="212901"/>
                    <a:pt x="128484" y="213259"/>
                  </a:cubicBezTo>
                  <a:lnTo>
                    <a:pt x="123435" y="225546"/>
                  </a:lnTo>
                  <a:cubicBezTo>
                    <a:pt x="122426" y="229324"/>
                    <a:pt x="118963" y="231921"/>
                    <a:pt x="115053" y="231833"/>
                  </a:cubicBezTo>
                  <a:close/>
                  <a:moveTo>
                    <a:pt x="110386" y="220498"/>
                  </a:moveTo>
                  <a:cubicBezTo>
                    <a:pt x="110350" y="220782"/>
                    <a:pt x="110350" y="221070"/>
                    <a:pt x="110386" y="221355"/>
                  </a:cubicBezTo>
                  <a:close/>
                  <a:moveTo>
                    <a:pt x="88193" y="212211"/>
                  </a:moveTo>
                  <a:lnTo>
                    <a:pt x="92289" y="213640"/>
                  </a:lnTo>
                  <a:cubicBezTo>
                    <a:pt x="98502" y="215498"/>
                    <a:pt x="104882" y="216742"/>
                    <a:pt x="111339" y="217354"/>
                  </a:cubicBezTo>
                  <a:lnTo>
                    <a:pt x="117054" y="203734"/>
                  </a:lnTo>
                  <a:cubicBezTo>
                    <a:pt x="118396" y="201687"/>
                    <a:pt x="120541" y="200303"/>
                    <a:pt x="122959" y="199924"/>
                  </a:cubicBezTo>
                  <a:cubicBezTo>
                    <a:pt x="128064" y="199789"/>
                    <a:pt x="133140" y="199119"/>
                    <a:pt x="138104" y="197923"/>
                  </a:cubicBezTo>
                  <a:cubicBezTo>
                    <a:pt x="140390" y="197352"/>
                    <a:pt x="142485" y="196780"/>
                    <a:pt x="144486" y="196114"/>
                  </a:cubicBezTo>
                  <a:cubicBezTo>
                    <a:pt x="147601" y="194543"/>
                    <a:pt x="151355" y="194993"/>
                    <a:pt x="154011" y="197257"/>
                  </a:cubicBezTo>
                  <a:lnTo>
                    <a:pt x="154868" y="198019"/>
                  </a:lnTo>
                  <a:cubicBezTo>
                    <a:pt x="157440" y="201067"/>
                    <a:pt x="160107" y="204019"/>
                    <a:pt x="162774" y="206972"/>
                  </a:cubicBezTo>
                  <a:lnTo>
                    <a:pt x="162774" y="206972"/>
                  </a:lnTo>
                  <a:cubicBezTo>
                    <a:pt x="166985" y="204981"/>
                    <a:pt x="171030" y="202656"/>
                    <a:pt x="174870" y="200019"/>
                  </a:cubicBezTo>
                  <a:cubicBezTo>
                    <a:pt x="177537" y="198114"/>
                    <a:pt x="180109" y="196018"/>
                    <a:pt x="182776" y="194018"/>
                  </a:cubicBezTo>
                  <a:lnTo>
                    <a:pt x="182776" y="194018"/>
                  </a:lnTo>
                  <a:cubicBezTo>
                    <a:pt x="182205" y="192780"/>
                    <a:pt x="181633" y="191351"/>
                    <a:pt x="181062" y="190018"/>
                  </a:cubicBezTo>
                  <a:lnTo>
                    <a:pt x="177918" y="182969"/>
                  </a:lnTo>
                  <a:cubicBezTo>
                    <a:pt x="176188" y="179953"/>
                    <a:pt x="176452" y="176190"/>
                    <a:pt x="178585" y="173444"/>
                  </a:cubicBezTo>
                  <a:cubicBezTo>
                    <a:pt x="183259" y="168175"/>
                    <a:pt x="187317" y="162391"/>
                    <a:pt x="190682" y="156204"/>
                  </a:cubicBezTo>
                  <a:cubicBezTo>
                    <a:pt x="192679" y="151944"/>
                    <a:pt x="197291" y="149560"/>
                    <a:pt x="201921" y="150394"/>
                  </a:cubicBezTo>
                  <a:lnTo>
                    <a:pt x="212304" y="150394"/>
                  </a:lnTo>
                  <a:cubicBezTo>
                    <a:pt x="214854" y="142866"/>
                    <a:pt x="216516" y="135066"/>
                    <a:pt x="217257" y="127153"/>
                  </a:cubicBezTo>
                  <a:lnTo>
                    <a:pt x="205160" y="122676"/>
                  </a:lnTo>
                  <a:cubicBezTo>
                    <a:pt x="201674" y="121473"/>
                    <a:pt x="199442" y="118066"/>
                    <a:pt x="199731" y="114389"/>
                  </a:cubicBezTo>
                  <a:cubicBezTo>
                    <a:pt x="199107" y="107506"/>
                    <a:pt x="197766" y="100706"/>
                    <a:pt x="195730" y="94101"/>
                  </a:cubicBezTo>
                  <a:cubicBezTo>
                    <a:pt x="194614" y="90641"/>
                    <a:pt x="195751" y="86851"/>
                    <a:pt x="198588" y="84576"/>
                  </a:cubicBezTo>
                  <a:lnTo>
                    <a:pt x="206112" y="77527"/>
                  </a:lnTo>
                  <a:lnTo>
                    <a:pt x="207636" y="76099"/>
                  </a:lnTo>
                  <a:cubicBezTo>
                    <a:pt x="205283" y="71151"/>
                    <a:pt x="202477" y="66432"/>
                    <a:pt x="199254" y="62002"/>
                  </a:cubicBezTo>
                  <a:cubicBezTo>
                    <a:pt x="197635" y="59525"/>
                    <a:pt x="196111" y="57620"/>
                    <a:pt x="194587" y="55620"/>
                  </a:cubicBezTo>
                  <a:lnTo>
                    <a:pt x="182967" y="60668"/>
                  </a:lnTo>
                  <a:cubicBezTo>
                    <a:pt x="180196" y="62106"/>
                    <a:pt x="176856" y="61886"/>
                    <a:pt x="174299" y="60097"/>
                  </a:cubicBezTo>
                  <a:cubicBezTo>
                    <a:pt x="168710" y="55087"/>
                    <a:pt x="162538" y="50770"/>
                    <a:pt x="155916" y="47238"/>
                  </a:cubicBezTo>
                  <a:cubicBezTo>
                    <a:pt x="152347" y="45508"/>
                    <a:pt x="150362" y="41617"/>
                    <a:pt x="151058" y="37713"/>
                  </a:cubicBezTo>
                  <a:lnTo>
                    <a:pt x="151058" y="33712"/>
                  </a:lnTo>
                  <a:cubicBezTo>
                    <a:pt x="151058" y="31141"/>
                    <a:pt x="151058" y="28474"/>
                    <a:pt x="151058" y="25902"/>
                  </a:cubicBezTo>
                  <a:cubicBezTo>
                    <a:pt x="147030" y="24427"/>
                    <a:pt x="142889" y="23280"/>
                    <a:pt x="138675" y="22473"/>
                  </a:cubicBezTo>
                  <a:lnTo>
                    <a:pt x="128579" y="21139"/>
                  </a:lnTo>
                  <a:lnTo>
                    <a:pt x="127436" y="21139"/>
                  </a:lnTo>
                  <a:cubicBezTo>
                    <a:pt x="126388" y="23806"/>
                    <a:pt x="125340" y="26188"/>
                    <a:pt x="124388" y="28664"/>
                  </a:cubicBezTo>
                  <a:lnTo>
                    <a:pt x="123054" y="31807"/>
                  </a:lnTo>
                  <a:cubicBezTo>
                    <a:pt x="121727" y="35897"/>
                    <a:pt x="117824" y="38590"/>
                    <a:pt x="113529" y="38380"/>
                  </a:cubicBezTo>
                  <a:cubicBezTo>
                    <a:pt x="107055" y="38975"/>
                    <a:pt x="100666" y="40285"/>
                    <a:pt x="94479" y="42285"/>
                  </a:cubicBezTo>
                  <a:cubicBezTo>
                    <a:pt x="91002" y="43174"/>
                    <a:pt x="87319" y="42033"/>
                    <a:pt x="84954" y="39332"/>
                  </a:cubicBezTo>
                  <a:lnTo>
                    <a:pt x="76763" y="30569"/>
                  </a:lnTo>
                  <a:lnTo>
                    <a:pt x="76763" y="30569"/>
                  </a:lnTo>
                  <a:cubicBezTo>
                    <a:pt x="74483" y="31597"/>
                    <a:pt x="72258" y="32742"/>
                    <a:pt x="70095" y="33998"/>
                  </a:cubicBezTo>
                  <a:cubicBezTo>
                    <a:pt x="65299" y="36742"/>
                    <a:pt x="60770" y="39932"/>
                    <a:pt x="56570" y="43523"/>
                  </a:cubicBezTo>
                  <a:lnTo>
                    <a:pt x="56570" y="43523"/>
                  </a:lnTo>
                  <a:cubicBezTo>
                    <a:pt x="57999" y="46952"/>
                    <a:pt x="59523" y="50381"/>
                    <a:pt x="61047" y="53715"/>
                  </a:cubicBezTo>
                  <a:cubicBezTo>
                    <a:pt x="64277" y="57669"/>
                    <a:pt x="63815" y="63467"/>
                    <a:pt x="59999" y="66859"/>
                  </a:cubicBezTo>
                  <a:cubicBezTo>
                    <a:pt x="56449" y="70719"/>
                    <a:pt x="53261" y="74895"/>
                    <a:pt x="50474" y="79337"/>
                  </a:cubicBezTo>
                  <a:lnTo>
                    <a:pt x="50474" y="80099"/>
                  </a:lnTo>
                  <a:lnTo>
                    <a:pt x="48950" y="82957"/>
                  </a:lnTo>
                  <a:cubicBezTo>
                    <a:pt x="47152" y="86484"/>
                    <a:pt x="43360" y="88532"/>
                    <a:pt x="39425" y="88100"/>
                  </a:cubicBezTo>
                  <a:lnTo>
                    <a:pt x="27614" y="88100"/>
                  </a:lnTo>
                  <a:cubicBezTo>
                    <a:pt x="25693" y="93512"/>
                    <a:pt x="24290" y="99093"/>
                    <a:pt x="23423" y="104769"/>
                  </a:cubicBezTo>
                  <a:cubicBezTo>
                    <a:pt x="23423" y="106483"/>
                    <a:pt x="22947" y="108293"/>
                    <a:pt x="22756" y="110198"/>
                  </a:cubicBezTo>
                  <a:lnTo>
                    <a:pt x="22756" y="111532"/>
                  </a:lnTo>
                  <a:lnTo>
                    <a:pt x="34091" y="116104"/>
                  </a:lnTo>
                  <a:cubicBezTo>
                    <a:pt x="37735" y="117249"/>
                    <a:pt x="40182" y="120667"/>
                    <a:pt x="40092" y="124486"/>
                  </a:cubicBezTo>
                  <a:cubicBezTo>
                    <a:pt x="40500" y="130650"/>
                    <a:pt x="41586" y="136751"/>
                    <a:pt x="43330" y="142678"/>
                  </a:cubicBezTo>
                  <a:lnTo>
                    <a:pt x="43997" y="145155"/>
                  </a:lnTo>
                  <a:cubicBezTo>
                    <a:pt x="45297" y="148552"/>
                    <a:pt x="44258" y="152399"/>
                    <a:pt x="41425" y="154680"/>
                  </a:cubicBezTo>
                  <a:lnTo>
                    <a:pt x="31900" y="162871"/>
                  </a:lnTo>
                  <a:cubicBezTo>
                    <a:pt x="35431" y="170200"/>
                    <a:pt x="39880" y="177049"/>
                    <a:pt x="45140" y="183255"/>
                  </a:cubicBezTo>
                  <a:lnTo>
                    <a:pt x="56379" y="178302"/>
                  </a:lnTo>
                  <a:cubicBezTo>
                    <a:pt x="59389" y="176596"/>
                    <a:pt x="63121" y="176820"/>
                    <a:pt x="65904" y="178873"/>
                  </a:cubicBezTo>
                  <a:cubicBezTo>
                    <a:pt x="71058" y="183605"/>
                    <a:pt x="76786" y="187669"/>
                    <a:pt x="82954" y="190970"/>
                  </a:cubicBezTo>
                  <a:cubicBezTo>
                    <a:pt x="87371" y="192963"/>
                    <a:pt x="89822" y="197746"/>
                    <a:pt x="88860" y="202495"/>
                  </a:cubicBezTo>
                  <a:cubicBezTo>
                    <a:pt x="88578" y="205726"/>
                    <a:pt x="88483" y="208970"/>
                    <a:pt x="88574" y="212211"/>
                  </a:cubicBezTo>
                  <a:close/>
                  <a:moveTo>
                    <a:pt x="83811" y="210687"/>
                  </a:moveTo>
                  <a:lnTo>
                    <a:pt x="84573" y="210687"/>
                  </a:lnTo>
                  <a:close/>
                  <a:moveTo>
                    <a:pt x="76096" y="203067"/>
                  </a:moveTo>
                  <a:lnTo>
                    <a:pt x="76953" y="203067"/>
                  </a:lnTo>
                  <a:close/>
                  <a:moveTo>
                    <a:pt x="74667" y="199924"/>
                  </a:moveTo>
                  <a:lnTo>
                    <a:pt x="74667" y="199924"/>
                  </a:lnTo>
                  <a:close/>
                  <a:moveTo>
                    <a:pt x="204112" y="162586"/>
                  </a:moveTo>
                  <a:lnTo>
                    <a:pt x="204112" y="163252"/>
                  </a:lnTo>
                  <a:cubicBezTo>
                    <a:pt x="204161" y="163033"/>
                    <a:pt x="204161" y="162805"/>
                    <a:pt x="204112" y="162586"/>
                  </a:cubicBezTo>
                  <a:close/>
                  <a:moveTo>
                    <a:pt x="25518" y="124486"/>
                  </a:moveTo>
                  <a:lnTo>
                    <a:pt x="25518" y="124486"/>
                  </a:lnTo>
                  <a:close/>
                  <a:moveTo>
                    <a:pt x="21899" y="114961"/>
                  </a:moveTo>
                  <a:lnTo>
                    <a:pt x="21899" y="114961"/>
                  </a:lnTo>
                  <a:close/>
                  <a:moveTo>
                    <a:pt x="214399" y="114484"/>
                  </a:moveTo>
                  <a:lnTo>
                    <a:pt x="214399" y="114484"/>
                  </a:lnTo>
                  <a:close/>
                  <a:moveTo>
                    <a:pt x="209732" y="90481"/>
                  </a:moveTo>
                  <a:lnTo>
                    <a:pt x="209732" y="90481"/>
                  </a:lnTo>
                  <a:close/>
                  <a:moveTo>
                    <a:pt x="209732" y="80194"/>
                  </a:moveTo>
                  <a:cubicBezTo>
                    <a:pt x="209732" y="80194"/>
                    <a:pt x="209732" y="80861"/>
                    <a:pt x="210208" y="81147"/>
                  </a:cubicBezTo>
                  <a:cubicBezTo>
                    <a:pt x="210684" y="81433"/>
                    <a:pt x="209827" y="80480"/>
                    <a:pt x="209637" y="80194"/>
                  </a:cubicBezTo>
                  <a:close/>
                  <a:moveTo>
                    <a:pt x="35901" y="76575"/>
                  </a:moveTo>
                  <a:lnTo>
                    <a:pt x="35901" y="76575"/>
                  </a:lnTo>
                  <a:close/>
                  <a:moveTo>
                    <a:pt x="211446" y="74194"/>
                  </a:moveTo>
                  <a:lnTo>
                    <a:pt x="210875" y="74194"/>
                  </a:lnTo>
                  <a:close/>
                  <a:moveTo>
                    <a:pt x="48569" y="60763"/>
                  </a:moveTo>
                  <a:lnTo>
                    <a:pt x="48569" y="61716"/>
                  </a:lnTo>
                  <a:close/>
                  <a:moveTo>
                    <a:pt x="49236" y="57049"/>
                  </a:moveTo>
                  <a:lnTo>
                    <a:pt x="49236" y="57049"/>
                  </a:lnTo>
                  <a:close/>
                  <a:moveTo>
                    <a:pt x="165822" y="39523"/>
                  </a:moveTo>
                  <a:lnTo>
                    <a:pt x="165822" y="40094"/>
                  </a:lnTo>
                  <a:cubicBezTo>
                    <a:pt x="165866" y="39906"/>
                    <a:pt x="165866" y="39711"/>
                    <a:pt x="165822" y="39523"/>
                  </a:cubicBezTo>
                  <a:close/>
                  <a:moveTo>
                    <a:pt x="162774" y="35332"/>
                  </a:moveTo>
                  <a:lnTo>
                    <a:pt x="163345" y="35332"/>
                  </a:lnTo>
                  <a:close/>
                  <a:moveTo>
                    <a:pt x="81430" y="29712"/>
                  </a:moveTo>
                  <a:lnTo>
                    <a:pt x="80859" y="29712"/>
                  </a:lnTo>
                  <a:close/>
                  <a:moveTo>
                    <a:pt x="114482" y="25521"/>
                  </a:moveTo>
                  <a:lnTo>
                    <a:pt x="114482" y="25521"/>
                  </a:lnTo>
                  <a:close/>
                  <a:moveTo>
                    <a:pt x="124674" y="21901"/>
                  </a:moveTo>
                  <a:lnTo>
                    <a:pt x="124674" y="21901"/>
                  </a:lnTo>
                  <a:close/>
                  <a:moveTo>
                    <a:pt x="130293" y="17901"/>
                  </a:moveTo>
                  <a:cubicBezTo>
                    <a:pt x="130293" y="17901"/>
                    <a:pt x="130293" y="18663"/>
                    <a:pt x="130293" y="19044"/>
                  </a:cubicBezTo>
                  <a:cubicBezTo>
                    <a:pt x="130357" y="18570"/>
                    <a:pt x="130357" y="18089"/>
                    <a:pt x="130293" y="1761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544">
              <a:extLst>
                <a:ext uri="{FF2B5EF4-FFF2-40B4-BE49-F238E27FC236}">
                  <a16:creationId xmlns:a16="http://schemas.microsoft.com/office/drawing/2014/main" id="{3C83AFCE-2F5B-4E4A-B232-1C6CFAF0FF5B}"/>
                </a:ext>
              </a:extLst>
            </p:cNvPr>
            <p:cNvSpPr/>
            <p:nvPr/>
          </p:nvSpPr>
          <p:spPr>
            <a:xfrm>
              <a:off x="3721894" y="5038820"/>
              <a:ext cx="85725" cy="85725"/>
            </a:xfrm>
            <a:custGeom>
              <a:avLst/>
              <a:gdLst>
                <a:gd name="connsiteX0" fmla="*/ 43434 w 85725"/>
                <a:gd name="connsiteY0" fmla="*/ 79724 h 85725"/>
                <a:gd name="connsiteX1" fmla="*/ 7144 w 85725"/>
                <a:gd name="connsiteY1" fmla="*/ 43434 h 85725"/>
                <a:gd name="connsiteX2" fmla="*/ 43434 w 85725"/>
                <a:gd name="connsiteY2" fmla="*/ 7144 h 85725"/>
                <a:gd name="connsiteX3" fmla="*/ 79724 w 85725"/>
                <a:gd name="connsiteY3" fmla="*/ 43434 h 85725"/>
                <a:gd name="connsiteX4" fmla="*/ 43434 w 85725"/>
                <a:gd name="connsiteY4" fmla="*/ 79724 h 85725"/>
                <a:gd name="connsiteX5" fmla="*/ 43434 w 85725"/>
                <a:gd name="connsiteY5" fmla="*/ 21336 h 85725"/>
                <a:gd name="connsiteX6" fmla="*/ 21241 w 85725"/>
                <a:gd name="connsiteY6" fmla="*/ 43338 h 85725"/>
                <a:gd name="connsiteX7" fmla="*/ 43243 w 85725"/>
                <a:gd name="connsiteY7" fmla="*/ 65532 h 85725"/>
                <a:gd name="connsiteX8" fmla="*/ 65436 w 85725"/>
                <a:gd name="connsiteY8" fmla="*/ 43529 h 85725"/>
                <a:gd name="connsiteX9" fmla="*/ 65437 w 85725"/>
                <a:gd name="connsiteY9" fmla="*/ 43434 h 85725"/>
                <a:gd name="connsiteX10" fmla="*/ 43529 w 85725"/>
                <a:gd name="connsiteY10" fmla="*/ 21336 h 85725"/>
                <a:gd name="connsiteX11" fmla="*/ 43434 w 85725"/>
                <a:gd name="connsiteY11" fmla="*/ 21336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725" h="85725">
                  <a:moveTo>
                    <a:pt x="43434" y="79724"/>
                  </a:moveTo>
                  <a:cubicBezTo>
                    <a:pt x="23391" y="79724"/>
                    <a:pt x="7144" y="63477"/>
                    <a:pt x="7144" y="43434"/>
                  </a:cubicBezTo>
                  <a:cubicBezTo>
                    <a:pt x="7144" y="23391"/>
                    <a:pt x="23391" y="7144"/>
                    <a:pt x="43434" y="7144"/>
                  </a:cubicBezTo>
                  <a:cubicBezTo>
                    <a:pt x="63477" y="7144"/>
                    <a:pt x="79724" y="23391"/>
                    <a:pt x="79724" y="43434"/>
                  </a:cubicBezTo>
                  <a:cubicBezTo>
                    <a:pt x="79672" y="63455"/>
                    <a:pt x="63455" y="79672"/>
                    <a:pt x="43434" y="79724"/>
                  </a:cubicBezTo>
                  <a:close/>
                  <a:moveTo>
                    <a:pt x="43434" y="21336"/>
                  </a:moveTo>
                  <a:cubicBezTo>
                    <a:pt x="31230" y="21283"/>
                    <a:pt x="21294" y="31134"/>
                    <a:pt x="21241" y="43338"/>
                  </a:cubicBezTo>
                  <a:cubicBezTo>
                    <a:pt x="21188" y="55543"/>
                    <a:pt x="31039" y="65479"/>
                    <a:pt x="43243" y="65532"/>
                  </a:cubicBezTo>
                  <a:cubicBezTo>
                    <a:pt x="55448" y="65584"/>
                    <a:pt x="65384" y="55733"/>
                    <a:pt x="65436" y="43529"/>
                  </a:cubicBezTo>
                  <a:cubicBezTo>
                    <a:pt x="65437" y="43497"/>
                    <a:pt x="65437" y="43466"/>
                    <a:pt x="65437" y="43434"/>
                  </a:cubicBezTo>
                  <a:cubicBezTo>
                    <a:pt x="65489" y="31282"/>
                    <a:pt x="55681" y="21389"/>
                    <a:pt x="43529" y="21336"/>
                  </a:cubicBezTo>
                  <a:cubicBezTo>
                    <a:pt x="43498" y="21336"/>
                    <a:pt x="43466" y="21336"/>
                    <a:pt x="43434" y="2133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07084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00BDE7-6269-490F-A8B2-3C486BA1C141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en-US" dirty="0"/>
              <a:t>Automation enables businesses to do more with less : Eggplant Automation Services (EAS) provides access to experts who fast track customers to success (upfront or on-demand) </a:t>
            </a:r>
          </a:p>
          <a:p>
            <a:r>
              <a:rPr lang="en-US" dirty="0"/>
              <a:t>Accelerate time-to-value</a:t>
            </a:r>
          </a:p>
          <a:p>
            <a:r>
              <a:rPr lang="en-US" dirty="0"/>
              <a:t>Ensure the customer team adheres to best practice making automation simple, low maintenance whilst delivering business valu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D3C89F8-DDFA-433F-98A2-2F8909F6D4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m of Eggplant Automation Services </a:t>
            </a:r>
          </a:p>
        </p:txBody>
      </p:sp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3A653567-B88F-445D-84C5-1F501CEDD69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5" r="16225"/>
          <a:stretch/>
        </p:blipFill>
        <p:spPr>
          <a:xfrm>
            <a:off x="5251704" y="0"/>
            <a:ext cx="6940296" cy="6858000"/>
          </a:xfrm>
        </p:spPr>
      </p:pic>
    </p:spTree>
    <p:extLst>
      <p:ext uri="{BB962C8B-B14F-4D97-AF65-F5344CB8AC3E}">
        <p14:creationId xmlns:p14="http://schemas.microsoft.com/office/powerpoint/2010/main" val="1049467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DE28A4D-B796-49F6-AA61-83D619268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AS (Deploy)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E22D24-338B-4AE6-83EF-27BC760885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Total Duration: 25 Days</a:t>
            </a:r>
          </a:p>
        </p:txBody>
      </p:sp>
      <p:sp>
        <p:nvSpPr>
          <p:cNvPr id="9" name="Shape 626">
            <a:extLst>
              <a:ext uri="{FF2B5EF4-FFF2-40B4-BE49-F238E27FC236}">
                <a16:creationId xmlns:a16="http://schemas.microsoft.com/office/drawing/2014/main" id="{0F315A30-7A64-0644-96A3-AD27911AE800}"/>
              </a:ext>
            </a:extLst>
          </p:cNvPr>
          <p:cNvSpPr/>
          <p:nvPr/>
        </p:nvSpPr>
        <p:spPr>
          <a:xfrm>
            <a:off x="5202356" y="3146130"/>
            <a:ext cx="2414023" cy="1658362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89642" tIns="89642" rIns="89642" bIns="89642" rtlCol="0">
            <a:spAutoFit/>
          </a:bodyPr>
          <a:lstStyle/>
          <a:p>
            <a:r>
              <a:rPr lang="en-GB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poke Training</a:t>
            </a:r>
          </a:p>
          <a:p>
            <a:endParaRPr lang="en-GB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Master the Automation principles that matter to your business</a:t>
            </a:r>
          </a:p>
          <a:p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Enable every team member to gain critical knowledge. </a:t>
            </a:r>
          </a:p>
          <a:p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hape 628">
            <a:extLst>
              <a:ext uri="{FF2B5EF4-FFF2-40B4-BE49-F238E27FC236}">
                <a16:creationId xmlns:a16="http://schemas.microsoft.com/office/drawing/2014/main" id="{DCB3E6C2-DB97-E348-A15F-E8F5B50195D9}"/>
              </a:ext>
            </a:extLst>
          </p:cNvPr>
          <p:cNvSpPr/>
          <p:nvPr/>
        </p:nvSpPr>
        <p:spPr>
          <a:xfrm>
            <a:off x="3409783" y="1585833"/>
            <a:ext cx="2436430" cy="919699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89642" tIns="89642" rIns="89642" bIns="89642" rtlCol="0">
            <a:spAutoFit/>
          </a:bodyPr>
          <a:lstStyle/>
          <a:p>
            <a:r>
              <a:rPr lang="en-GB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stStart</a:t>
            </a:r>
          </a:p>
          <a:p>
            <a:endParaRPr lang="en-GB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Setup and integrations are mapped out and training begins </a:t>
            </a:r>
          </a:p>
        </p:txBody>
      </p:sp>
      <p:sp>
        <p:nvSpPr>
          <p:cNvPr id="12" name="Shape 631">
            <a:extLst>
              <a:ext uri="{FF2B5EF4-FFF2-40B4-BE49-F238E27FC236}">
                <a16:creationId xmlns:a16="http://schemas.microsoft.com/office/drawing/2014/main" id="{6798855D-1457-C74E-8D81-CB54124B50E8}"/>
              </a:ext>
            </a:extLst>
          </p:cNvPr>
          <p:cNvSpPr/>
          <p:nvPr/>
        </p:nvSpPr>
        <p:spPr>
          <a:xfrm>
            <a:off x="8997175" y="2482015"/>
            <a:ext cx="3042829" cy="1473696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89642" tIns="89642" rIns="89642" bIns="89642" rtlCol="0">
            <a:spAutoFit/>
          </a:bodyPr>
          <a:lstStyle/>
          <a:p>
            <a:pPr algn="just"/>
            <a:r>
              <a:rPr lang="en-GB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d Delivery</a:t>
            </a:r>
          </a:p>
          <a:p>
            <a:pPr algn="just"/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Eggplant Automation expert models and guides the team through Test Asset creation.  Allowing for efficient knowledge transfer and troubleshooting.</a:t>
            </a:r>
          </a:p>
          <a:p>
            <a:pPr algn="just"/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Shape 626">
            <a:extLst>
              <a:ext uri="{FF2B5EF4-FFF2-40B4-BE49-F238E27FC236}">
                <a16:creationId xmlns:a16="http://schemas.microsoft.com/office/drawing/2014/main" id="{012A5094-D14E-0A44-B5F9-B8A6AC88F014}"/>
              </a:ext>
            </a:extLst>
          </p:cNvPr>
          <p:cNvSpPr/>
          <p:nvPr/>
        </p:nvSpPr>
        <p:spPr>
          <a:xfrm>
            <a:off x="8975604" y="3962891"/>
            <a:ext cx="3042829" cy="1790706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89642" tIns="89642" rIns="89642" bIns="89642" rtlCol="0">
            <a:spAutoFit/>
          </a:bodyPr>
          <a:lstStyle/>
          <a:p>
            <a:pPr algn="just"/>
            <a:r>
              <a:rPr lang="en-GB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Practices</a:t>
            </a:r>
          </a:p>
          <a:p>
            <a:pPr algn="just"/>
            <a:endParaRPr lang="en-GB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914225">
              <a:lnSpc>
                <a:spcPct val="90000"/>
              </a:lnSpc>
              <a:spcAft>
                <a:spcPts val="600"/>
              </a:spcAft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Embed years of Eggplant expertise into your team.</a:t>
            </a:r>
          </a:p>
          <a:p>
            <a:pPr algn="just" defTabSz="914225">
              <a:lnSpc>
                <a:spcPct val="90000"/>
              </a:lnSpc>
            </a:pP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Access to Automation experts who can help your team withstand any project difficulties.</a:t>
            </a:r>
          </a:p>
          <a:p>
            <a:pPr algn="just" defTabSz="914225">
              <a:lnSpc>
                <a:spcPct val="90000"/>
              </a:lnSpc>
            </a:pP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914225">
              <a:lnSpc>
                <a:spcPct val="90000"/>
              </a:lnSpc>
            </a:pPr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Shape 620">
            <a:extLst>
              <a:ext uri="{FF2B5EF4-FFF2-40B4-BE49-F238E27FC236}">
                <a16:creationId xmlns:a16="http://schemas.microsoft.com/office/drawing/2014/main" id="{17179B69-E95F-5B43-8434-E065136FA975}"/>
              </a:ext>
            </a:extLst>
          </p:cNvPr>
          <p:cNvSpPr/>
          <p:nvPr/>
        </p:nvSpPr>
        <p:spPr>
          <a:xfrm>
            <a:off x="104402" y="4288918"/>
            <a:ext cx="1878297" cy="2027694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89642" tIns="89642" rIns="89642" bIns="89642" rtlCol="0">
            <a:spAutoFit/>
          </a:bodyPr>
          <a:lstStyle/>
          <a:p>
            <a:pPr algn="just"/>
            <a:r>
              <a:rPr lang="en-GB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ck-off Workshop</a:t>
            </a:r>
          </a:p>
          <a:p>
            <a:pPr algn="just"/>
            <a:endParaRPr lang="en-GB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Automation goals identification and success definition</a:t>
            </a:r>
          </a:p>
          <a:p>
            <a:pPr algn="just"/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The team meets to discuss the way forward for the Eggplant Automation project.</a:t>
            </a:r>
          </a:p>
        </p:txBody>
      </p:sp>
      <p:sp>
        <p:nvSpPr>
          <p:cNvPr id="72" name="Shape 640">
            <a:extLst>
              <a:ext uri="{FF2B5EF4-FFF2-40B4-BE49-F238E27FC236}">
                <a16:creationId xmlns:a16="http://schemas.microsoft.com/office/drawing/2014/main" id="{2A89B1D1-CB9D-F245-95F6-3C776399C8F0}"/>
              </a:ext>
            </a:extLst>
          </p:cNvPr>
          <p:cNvSpPr/>
          <p:nvPr/>
        </p:nvSpPr>
        <p:spPr>
          <a:xfrm>
            <a:off x="2294559" y="5653932"/>
            <a:ext cx="3874085" cy="1104365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89642" tIns="89642" rIns="89642" bIns="89642" rtlCol="0">
            <a:spAutoFit/>
          </a:bodyPr>
          <a:lstStyle/>
          <a:p>
            <a:pPr algn="r"/>
            <a:r>
              <a:rPr lang="en-GB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Reviews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with weekly analytics and advice.</a:t>
            </a:r>
          </a:p>
          <a:p>
            <a:pPr algn="r"/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</a:rPr>
              <a:t>A weekly cadence to ensure a successful transition to business as usual upon project completion.</a:t>
            </a:r>
          </a:p>
          <a:p>
            <a:pPr algn="r"/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D14CAC5-061A-704C-A251-703CCCDA4986}"/>
              </a:ext>
            </a:extLst>
          </p:cNvPr>
          <p:cNvGrpSpPr/>
          <p:nvPr/>
        </p:nvGrpSpPr>
        <p:grpSpPr>
          <a:xfrm>
            <a:off x="325308" y="2154719"/>
            <a:ext cx="8172259" cy="3831494"/>
            <a:chOff x="325308" y="2154719"/>
            <a:chExt cx="8172259" cy="3831494"/>
          </a:xfrm>
        </p:grpSpPr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27500E15-642D-144E-95D5-A59F76FD392E}"/>
                </a:ext>
              </a:extLst>
            </p:cNvPr>
            <p:cNvSpPr/>
            <p:nvPr/>
          </p:nvSpPr>
          <p:spPr bwMode="auto">
            <a:xfrm>
              <a:off x="1043551" y="2154719"/>
              <a:ext cx="7454016" cy="3831494"/>
            </a:xfrm>
            <a:custGeom>
              <a:avLst/>
              <a:gdLst>
                <a:gd name="connsiteX0" fmla="*/ 0 w 8373979"/>
                <a:gd name="connsiteY0" fmla="*/ 1091017 h 2014115"/>
                <a:gd name="connsiteX1" fmla="*/ 1957137 w 8373979"/>
                <a:gd name="connsiteY1" fmla="*/ 153 h 2014115"/>
                <a:gd name="connsiteX2" fmla="*/ 4267200 w 8373979"/>
                <a:gd name="connsiteY2" fmla="*/ 1155185 h 2014115"/>
                <a:gd name="connsiteX3" fmla="*/ 5871410 w 8373979"/>
                <a:gd name="connsiteY3" fmla="*/ 2005417 h 2014115"/>
                <a:gd name="connsiteX4" fmla="*/ 8373979 w 8373979"/>
                <a:gd name="connsiteY4" fmla="*/ 625796 h 2014115"/>
                <a:gd name="connsiteX0" fmla="*/ 0 w 8373979"/>
                <a:gd name="connsiteY0" fmla="*/ 1120191 h 2383958"/>
                <a:gd name="connsiteX1" fmla="*/ 1957137 w 8373979"/>
                <a:gd name="connsiteY1" fmla="*/ 29327 h 2383958"/>
                <a:gd name="connsiteX2" fmla="*/ 4379494 w 8373979"/>
                <a:gd name="connsiteY2" fmla="*/ 2227096 h 2383958"/>
                <a:gd name="connsiteX3" fmla="*/ 5871410 w 8373979"/>
                <a:gd name="connsiteY3" fmla="*/ 2034591 h 2383958"/>
                <a:gd name="connsiteX4" fmla="*/ 8373979 w 8373979"/>
                <a:gd name="connsiteY4" fmla="*/ 654970 h 2383958"/>
                <a:gd name="connsiteX0" fmla="*/ 0 w 8382459"/>
                <a:gd name="connsiteY0" fmla="*/ 1120191 h 4356580"/>
                <a:gd name="connsiteX1" fmla="*/ 1957137 w 8382459"/>
                <a:gd name="connsiteY1" fmla="*/ 29327 h 4356580"/>
                <a:gd name="connsiteX2" fmla="*/ 4379494 w 8382459"/>
                <a:gd name="connsiteY2" fmla="*/ 2227096 h 4356580"/>
                <a:gd name="connsiteX3" fmla="*/ 7828547 w 8382459"/>
                <a:gd name="connsiteY3" fmla="*/ 4328612 h 4356580"/>
                <a:gd name="connsiteX4" fmla="*/ 8373979 w 8382459"/>
                <a:gd name="connsiteY4" fmla="*/ 654970 h 4356580"/>
                <a:gd name="connsiteX0" fmla="*/ 0 w 10459453"/>
                <a:gd name="connsiteY0" fmla="*/ 1120191 h 4331017"/>
                <a:gd name="connsiteX1" fmla="*/ 1957137 w 10459453"/>
                <a:gd name="connsiteY1" fmla="*/ 29327 h 4331017"/>
                <a:gd name="connsiteX2" fmla="*/ 4379494 w 10459453"/>
                <a:gd name="connsiteY2" fmla="*/ 2227096 h 4331017"/>
                <a:gd name="connsiteX3" fmla="*/ 7828547 w 10459453"/>
                <a:gd name="connsiteY3" fmla="*/ 4328612 h 4331017"/>
                <a:gd name="connsiteX4" fmla="*/ 10459453 w 10459453"/>
                <a:gd name="connsiteY4" fmla="*/ 1810002 h 4331017"/>
                <a:gd name="connsiteX0" fmla="*/ 0 w 10459453"/>
                <a:gd name="connsiteY0" fmla="*/ 1089196 h 4300014"/>
                <a:gd name="connsiteX1" fmla="*/ 2470484 w 10459453"/>
                <a:gd name="connsiteY1" fmla="*/ 30417 h 4300014"/>
                <a:gd name="connsiteX2" fmla="*/ 4379494 w 10459453"/>
                <a:gd name="connsiteY2" fmla="*/ 2196101 h 4300014"/>
                <a:gd name="connsiteX3" fmla="*/ 7828547 w 10459453"/>
                <a:gd name="connsiteY3" fmla="*/ 4297617 h 4300014"/>
                <a:gd name="connsiteX4" fmla="*/ 10459453 w 10459453"/>
                <a:gd name="connsiteY4" fmla="*/ 1779007 h 4300014"/>
                <a:gd name="connsiteX0" fmla="*/ 0 w 10459453"/>
                <a:gd name="connsiteY0" fmla="*/ 1087784 h 4298217"/>
                <a:gd name="connsiteX1" fmla="*/ 2470484 w 10459453"/>
                <a:gd name="connsiteY1" fmla="*/ 29005 h 4298217"/>
                <a:gd name="connsiteX2" fmla="*/ 5021179 w 10459453"/>
                <a:gd name="connsiteY2" fmla="*/ 2162605 h 4298217"/>
                <a:gd name="connsiteX3" fmla="*/ 7828547 w 10459453"/>
                <a:gd name="connsiteY3" fmla="*/ 4296205 h 4298217"/>
                <a:gd name="connsiteX4" fmla="*/ 10459453 w 10459453"/>
                <a:gd name="connsiteY4" fmla="*/ 1777595 h 4298217"/>
                <a:gd name="connsiteX0" fmla="*/ 0 w 10459453"/>
                <a:gd name="connsiteY0" fmla="*/ 1087784 h 4298398"/>
                <a:gd name="connsiteX1" fmla="*/ 2470484 w 10459453"/>
                <a:gd name="connsiteY1" fmla="*/ 29005 h 4298398"/>
                <a:gd name="connsiteX2" fmla="*/ 5021179 w 10459453"/>
                <a:gd name="connsiteY2" fmla="*/ 2162605 h 4298398"/>
                <a:gd name="connsiteX3" fmla="*/ 7828547 w 10459453"/>
                <a:gd name="connsiteY3" fmla="*/ 4296205 h 4298398"/>
                <a:gd name="connsiteX4" fmla="*/ 10459453 w 10459453"/>
                <a:gd name="connsiteY4" fmla="*/ 1777595 h 4298398"/>
                <a:gd name="connsiteX0" fmla="*/ 0 w 10459453"/>
                <a:gd name="connsiteY0" fmla="*/ 1162296 h 4292699"/>
                <a:gd name="connsiteX1" fmla="*/ 2470484 w 10459453"/>
                <a:gd name="connsiteY1" fmla="*/ 23306 h 4292699"/>
                <a:gd name="connsiteX2" fmla="*/ 5021179 w 10459453"/>
                <a:gd name="connsiteY2" fmla="*/ 2156906 h 4292699"/>
                <a:gd name="connsiteX3" fmla="*/ 7828547 w 10459453"/>
                <a:gd name="connsiteY3" fmla="*/ 4290506 h 4292699"/>
                <a:gd name="connsiteX4" fmla="*/ 10459453 w 10459453"/>
                <a:gd name="connsiteY4" fmla="*/ 1771896 h 4292699"/>
                <a:gd name="connsiteX0" fmla="*/ 0 w 10459453"/>
                <a:gd name="connsiteY0" fmla="*/ 1209244 h 4339476"/>
                <a:gd name="connsiteX1" fmla="*/ 1925052 w 10459453"/>
                <a:gd name="connsiteY1" fmla="*/ 22128 h 4339476"/>
                <a:gd name="connsiteX2" fmla="*/ 5021179 w 10459453"/>
                <a:gd name="connsiteY2" fmla="*/ 2203854 h 4339476"/>
                <a:gd name="connsiteX3" fmla="*/ 7828547 w 10459453"/>
                <a:gd name="connsiteY3" fmla="*/ 4337454 h 4339476"/>
                <a:gd name="connsiteX4" fmla="*/ 10459453 w 10459453"/>
                <a:gd name="connsiteY4" fmla="*/ 1818844 h 4339476"/>
                <a:gd name="connsiteX0" fmla="*/ 0 w 10459453"/>
                <a:gd name="connsiteY0" fmla="*/ 1187472 h 4317704"/>
                <a:gd name="connsiteX1" fmla="*/ 1925052 w 10459453"/>
                <a:gd name="connsiteY1" fmla="*/ 356 h 4317704"/>
                <a:gd name="connsiteX2" fmla="*/ 5021179 w 10459453"/>
                <a:gd name="connsiteY2" fmla="*/ 2182082 h 4317704"/>
                <a:gd name="connsiteX3" fmla="*/ 7828547 w 10459453"/>
                <a:gd name="connsiteY3" fmla="*/ 4315682 h 4317704"/>
                <a:gd name="connsiteX4" fmla="*/ 10459453 w 10459453"/>
                <a:gd name="connsiteY4" fmla="*/ 1797072 h 4317704"/>
                <a:gd name="connsiteX0" fmla="*/ 0 w 10459453"/>
                <a:gd name="connsiteY0" fmla="*/ 1209244 h 4339476"/>
                <a:gd name="connsiteX1" fmla="*/ 1925052 w 10459453"/>
                <a:gd name="connsiteY1" fmla="*/ 22128 h 4339476"/>
                <a:gd name="connsiteX2" fmla="*/ 5197643 w 10459453"/>
                <a:gd name="connsiteY2" fmla="*/ 2203854 h 4339476"/>
                <a:gd name="connsiteX3" fmla="*/ 7828547 w 10459453"/>
                <a:gd name="connsiteY3" fmla="*/ 4337454 h 4339476"/>
                <a:gd name="connsiteX4" fmla="*/ 10459453 w 10459453"/>
                <a:gd name="connsiteY4" fmla="*/ 1818844 h 4339476"/>
                <a:gd name="connsiteX0" fmla="*/ 0 w 10459453"/>
                <a:gd name="connsiteY0" fmla="*/ 1209244 h 4339764"/>
                <a:gd name="connsiteX1" fmla="*/ 1925052 w 10459453"/>
                <a:gd name="connsiteY1" fmla="*/ 22128 h 4339764"/>
                <a:gd name="connsiteX2" fmla="*/ 5197643 w 10459453"/>
                <a:gd name="connsiteY2" fmla="*/ 2203854 h 4339764"/>
                <a:gd name="connsiteX3" fmla="*/ 7828547 w 10459453"/>
                <a:gd name="connsiteY3" fmla="*/ 4337454 h 4339764"/>
                <a:gd name="connsiteX4" fmla="*/ 10459453 w 10459453"/>
                <a:gd name="connsiteY4" fmla="*/ 1818844 h 4339764"/>
                <a:gd name="connsiteX0" fmla="*/ 0 w 10459453"/>
                <a:gd name="connsiteY0" fmla="*/ 1202437 h 4331171"/>
                <a:gd name="connsiteX1" fmla="*/ 1925052 w 10459453"/>
                <a:gd name="connsiteY1" fmla="*/ 15321 h 4331171"/>
                <a:gd name="connsiteX2" fmla="*/ 5005137 w 10459453"/>
                <a:gd name="connsiteY2" fmla="*/ 2004542 h 4331171"/>
                <a:gd name="connsiteX3" fmla="*/ 7828547 w 10459453"/>
                <a:gd name="connsiteY3" fmla="*/ 4330647 h 4331171"/>
                <a:gd name="connsiteX4" fmla="*/ 10459453 w 10459453"/>
                <a:gd name="connsiteY4" fmla="*/ 1812037 h 4331171"/>
                <a:gd name="connsiteX0" fmla="*/ 0 w 10459453"/>
                <a:gd name="connsiteY0" fmla="*/ 1188305 h 4317039"/>
                <a:gd name="connsiteX1" fmla="*/ 1925052 w 10459453"/>
                <a:gd name="connsiteY1" fmla="*/ 1189 h 4317039"/>
                <a:gd name="connsiteX2" fmla="*/ 5005137 w 10459453"/>
                <a:gd name="connsiteY2" fmla="*/ 1990410 h 4317039"/>
                <a:gd name="connsiteX3" fmla="*/ 7828547 w 10459453"/>
                <a:gd name="connsiteY3" fmla="*/ 4316515 h 4317039"/>
                <a:gd name="connsiteX4" fmla="*/ 10459453 w 10459453"/>
                <a:gd name="connsiteY4" fmla="*/ 1797905 h 4317039"/>
                <a:gd name="connsiteX0" fmla="*/ 0 w 10459453"/>
                <a:gd name="connsiteY0" fmla="*/ 1188102 h 4028097"/>
                <a:gd name="connsiteX1" fmla="*/ 1925052 w 10459453"/>
                <a:gd name="connsiteY1" fmla="*/ 986 h 4028097"/>
                <a:gd name="connsiteX2" fmla="*/ 5005137 w 10459453"/>
                <a:gd name="connsiteY2" fmla="*/ 1990207 h 4028097"/>
                <a:gd name="connsiteX3" fmla="*/ 7796463 w 10459453"/>
                <a:gd name="connsiteY3" fmla="*/ 4027555 h 4028097"/>
                <a:gd name="connsiteX4" fmla="*/ 10459453 w 10459453"/>
                <a:gd name="connsiteY4" fmla="*/ 1797702 h 4028097"/>
                <a:gd name="connsiteX0" fmla="*/ 0 w 10459453"/>
                <a:gd name="connsiteY0" fmla="*/ 1188102 h 4028097"/>
                <a:gd name="connsiteX1" fmla="*/ 1925052 w 10459453"/>
                <a:gd name="connsiteY1" fmla="*/ 986 h 4028097"/>
                <a:gd name="connsiteX2" fmla="*/ 5005137 w 10459453"/>
                <a:gd name="connsiteY2" fmla="*/ 1990207 h 4028097"/>
                <a:gd name="connsiteX3" fmla="*/ 7796463 w 10459453"/>
                <a:gd name="connsiteY3" fmla="*/ 4027555 h 4028097"/>
                <a:gd name="connsiteX4" fmla="*/ 10459453 w 10459453"/>
                <a:gd name="connsiteY4" fmla="*/ 1797702 h 4028097"/>
                <a:gd name="connsiteX0" fmla="*/ 0 w 10459453"/>
                <a:gd name="connsiteY0" fmla="*/ 1188214 h 4028270"/>
                <a:gd name="connsiteX1" fmla="*/ 1925052 w 10459453"/>
                <a:gd name="connsiteY1" fmla="*/ 1098 h 4028270"/>
                <a:gd name="connsiteX2" fmla="*/ 5005137 w 10459453"/>
                <a:gd name="connsiteY2" fmla="*/ 1990319 h 4028270"/>
                <a:gd name="connsiteX3" fmla="*/ 7796463 w 10459453"/>
                <a:gd name="connsiteY3" fmla="*/ 4027667 h 4028270"/>
                <a:gd name="connsiteX4" fmla="*/ 10459453 w 10459453"/>
                <a:gd name="connsiteY4" fmla="*/ 1797814 h 4028270"/>
                <a:gd name="connsiteX0" fmla="*/ 0 w 10459453"/>
                <a:gd name="connsiteY0" fmla="*/ 1187150 h 4027206"/>
                <a:gd name="connsiteX1" fmla="*/ 1925052 w 10459453"/>
                <a:gd name="connsiteY1" fmla="*/ 34 h 4027206"/>
                <a:gd name="connsiteX2" fmla="*/ 5005137 w 10459453"/>
                <a:gd name="connsiteY2" fmla="*/ 1989255 h 4027206"/>
                <a:gd name="connsiteX3" fmla="*/ 7796463 w 10459453"/>
                <a:gd name="connsiteY3" fmla="*/ 4026603 h 4027206"/>
                <a:gd name="connsiteX4" fmla="*/ 10459453 w 10459453"/>
                <a:gd name="connsiteY4" fmla="*/ 1796750 h 4027206"/>
                <a:gd name="connsiteX0" fmla="*/ 0 w 10459453"/>
                <a:gd name="connsiteY0" fmla="*/ 1187150 h 4027238"/>
                <a:gd name="connsiteX1" fmla="*/ 1925052 w 10459453"/>
                <a:gd name="connsiteY1" fmla="*/ 34 h 4027238"/>
                <a:gd name="connsiteX2" fmla="*/ 5005137 w 10459453"/>
                <a:gd name="connsiteY2" fmla="*/ 1989255 h 4027238"/>
                <a:gd name="connsiteX3" fmla="*/ 7796463 w 10459453"/>
                <a:gd name="connsiteY3" fmla="*/ 4026603 h 4027238"/>
                <a:gd name="connsiteX4" fmla="*/ 10459453 w 10459453"/>
                <a:gd name="connsiteY4" fmla="*/ 1796750 h 4027238"/>
                <a:gd name="connsiteX0" fmla="*/ 0 w 10459453"/>
                <a:gd name="connsiteY0" fmla="*/ 1187150 h 4027238"/>
                <a:gd name="connsiteX1" fmla="*/ 1925052 w 10459453"/>
                <a:gd name="connsiteY1" fmla="*/ 34 h 4027238"/>
                <a:gd name="connsiteX2" fmla="*/ 5005137 w 10459453"/>
                <a:gd name="connsiteY2" fmla="*/ 1989255 h 4027238"/>
                <a:gd name="connsiteX3" fmla="*/ 7796463 w 10459453"/>
                <a:gd name="connsiteY3" fmla="*/ 4026603 h 4027238"/>
                <a:gd name="connsiteX4" fmla="*/ 10459453 w 10459453"/>
                <a:gd name="connsiteY4" fmla="*/ 1796750 h 4027238"/>
                <a:gd name="connsiteX0" fmla="*/ 0 w 10459453"/>
                <a:gd name="connsiteY0" fmla="*/ 1187150 h 4027238"/>
                <a:gd name="connsiteX1" fmla="*/ 1925052 w 10459453"/>
                <a:gd name="connsiteY1" fmla="*/ 34 h 4027238"/>
                <a:gd name="connsiteX2" fmla="*/ 5005137 w 10459453"/>
                <a:gd name="connsiteY2" fmla="*/ 1989255 h 4027238"/>
                <a:gd name="connsiteX3" fmla="*/ 7796463 w 10459453"/>
                <a:gd name="connsiteY3" fmla="*/ 4026603 h 4027238"/>
                <a:gd name="connsiteX4" fmla="*/ 10459453 w 10459453"/>
                <a:gd name="connsiteY4" fmla="*/ 1796750 h 4027238"/>
                <a:gd name="connsiteX0" fmla="*/ 0 w 9705475"/>
                <a:gd name="connsiteY0" fmla="*/ 1187150 h 4027344"/>
                <a:gd name="connsiteX1" fmla="*/ 1925052 w 9705475"/>
                <a:gd name="connsiteY1" fmla="*/ 34 h 4027344"/>
                <a:gd name="connsiteX2" fmla="*/ 5005137 w 9705475"/>
                <a:gd name="connsiteY2" fmla="*/ 1989255 h 4027344"/>
                <a:gd name="connsiteX3" fmla="*/ 7796463 w 9705475"/>
                <a:gd name="connsiteY3" fmla="*/ 4026603 h 4027344"/>
                <a:gd name="connsiteX4" fmla="*/ 9705475 w 9705475"/>
                <a:gd name="connsiteY4" fmla="*/ 2245929 h 4027344"/>
                <a:gd name="connsiteX0" fmla="*/ 0 w 9705475"/>
                <a:gd name="connsiteY0" fmla="*/ 1187150 h 4030792"/>
                <a:gd name="connsiteX1" fmla="*/ 1925052 w 9705475"/>
                <a:gd name="connsiteY1" fmla="*/ 34 h 4030792"/>
                <a:gd name="connsiteX2" fmla="*/ 5005137 w 9705475"/>
                <a:gd name="connsiteY2" fmla="*/ 1989255 h 4030792"/>
                <a:gd name="connsiteX3" fmla="*/ 7796463 w 9705475"/>
                <a:gd name="connsiteY3" fmla="*/ 4026603 h 4030792"/>
                <a:gd name="connsiteX4" fmla="*/ 9705475 w 9705475"/>
                <a:gd name="connsiteY4" fmla="*/ 2245929 h 4030792"/>
                <a:gd name="connsiteX0" fmla="*/ 0 w 9641307"/>
                <a:gd name="connsiteY0" fmla="*/ 1126684 h 4050537"/>
                <a:gd name="connsiteX1" fmla="*/ 1860884 w 9641307"/>
                <a:gd name="connsiteY1" fmla="*/ 19779 h 4050537"/>
                <a:gd name="connsiteX2" fmla="*/ 4940969 w 9641307"/>
                <a:gd name="connsiteY2" fmla="*/ 2009000 h 4050537"/>
                <a:gd name="connsiteX3" fmla="*/ 7732295 w 9641307"/>
                <a:gd name="connsiteY3" fmla="*/ 4046348 h 4050537"/>
                <a:gd name="connsiteX4" fmla="*/ 9641307 w 9641307"/>
                <a:gd name="connsiteY4" fmla="*/ 2265674 h 4050537"/>
                <a:gd name="connsiteX0" fmla="*/ 0 w 9641307"/>
                <a:gd name="connsiteY0" fmla="*/ 1119086 h 4042939"/>
                <a:gd name="connsiteX1" fmla="*/ 1860884 w 9641307"/>
                <a:gd name="connsiteY1" fmla="*/ 12181 h 4042939"/>
                <a:gd name="connsiteX2" fmla="*/ 4940969 w 9641307"/>
                <a:gd name="connsiteY2" fmla="*/ 2001402 h 4042939"/>
                <a:gd name="connsiteX3" fmla="*/ 7732295 w 9641307"/>
                <a:gd name="connsiteY3" fmla="*/ 4038750 h 4042939"/>
                <a:gd name="connsiteX4" fmla="*/ 9641307 w 9641307"/>
                <a:gd name="connsiteY4" fmla="*/ 2258076 h 4042939"/>
                <a:gd name="connsiteX0" fmla="*/ 0 w 9641307"/>
                <a:gd name="connsiteY0" fmla="*/ 1106910 h 4030763"/>
                <a:gd name="connsiteX1" fmla="*/ 1860884 w 9641307"/>
                <a:gd name="connsiteY1" fmla="*/ 5 h 4030763"/>
                <a:gd name="connsiteX2" fmla="*/ 4940969 w 9641307"/>
                <a:gd name="connsiteY2" fmla="*/ 1989226 h 4030763"/>
                <a:gd name="connsiteX3" fmla="*/ 7732295 w 9641307"/>
                <a:gd name="connsiteY3" fmla="*/ 4026574 h 4030763"/>
                <a:gd name="connsiteX4" fmla="*/ 9641307 w 9641307"/>
                <a:gd name="connsiteY4" fmla="*/ 2245900 h 4030763"/>
                <a:gd name="connsiteX0" fmla="*/ 0 w 9641307"/>
                <a:gd name="connsiteY0" fmla="*/ 1106910 h 4030975"/>
                <a:gd name="connsiteX1" fmla="*/ 1860884 w 9641307"/>
                <a:gd name="connsiteY1" fmla="*/ 5 h 4030975"/>
                <a:gd name="connsiteX2" fmla="*/ 4940969 w 9641307"/>
                <a:gd name="connsiteY2" fmla="*/ 1989226 h 4030975"/>
                <a:gd name="connsiteX3" fmla="*/ 7732295 w 9641307"/>
                <a:gd name="connsiteY3" fmla="*/ 4026574 h 4030975"/>
                <a:gd name="connsiteX4" fmla="*/ 9641307 w 9641307"/>
                <a:gd name="connsiteY4" fmla="*/ 2245900 h 403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641307" h="4030975">
                  <a:moveTo>
                    <a:pt x="0" y="1106910"/>
                  </a:moveTo>
                  <a:cubicBezTo>
                    <a:pt x="61495" y="1085519"/>
                    <a:pt x="459873" y="-2669"/>
                    <a:pt x="1860884" y="5"/>
                  </a:cubicBezTo>
                  <a:cubicBezTo>
                    <a:pt x="3261895" y="2679"/>
                    <a:pt x="4154906" y="1045414"/>
                    <a:pt x="4940969" y="1989226"/>
                  </a:cubicBezTo>
                  <a:cubicBezTo>
                    <a:pt x="5727032" y="2933038"/>
                    <a:pt x="6146800" y="4112132"/>
                    <a:pt x="7732295" y="4026574"/>
                  </a:cubicBezTo>
                  <a:cubicBezTo>
                    <a:pt x="9317790" y="3941016"/>
                    <a:pt x="9641307" y="2245900"/>
                    <a:pt x="9641307" y="2245900"/>
                  </a:cubicBezTo>
                </a:path>
              </a:pathLst>
            </a:custGeom>
            <a:ln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3F2B55"/>
                </a:solidFill>
              </a:endParaRPr>
            </a:p>
          </p:txBody>
        </p:sp>
        <p:grpSp>
          <p:nvGrpSpPr>
            <p:cNvPr id="73" name="Graphic 107">
              <a:extLst>
                <a:ext uri="{FF2B5EF4-FFF2-40B4-BE49-F238E27FC236}">
                  <a16:creationId xmlns:a16="http://schemas.microsoft.com/office/drawing/2014/main" id="{9BE93667-5D21-9546-A387-3EF0F26A22CC}"/>
                </a:ext>
              </a:extLst>
            </p:cNvPr>
            <p:cNvGrpSpPr/>
            <p:nvPr/>
          </p:nvGrpSpPr>
          <p:grpSpPr>
            <a:xfrm>
              <a:off x="325308" y="3066932"/>
              <a:ext cx="1371600" cy="1371600"/>
              <a:chOff x="849822" y="4189627"/>
              <a:chExt cx="1714500" cy="1714500"/>
            </a:xfrm>
          </p:grpSpPr>
          <p:grpSp>
            <p:nvGrpSpPr>
              <p:cNvPr id="74" name="Graphic 107">
                <a:extLst>
                  <a:ext uri="{FF2B5EF4-FFF2-40B4-BE49-F238E27FC236}">
                    <a16:creationId xmlns:a16="http://schemas.microsoft.com/office/drawing/2014/main" id="{D30C1A81-E23C-C64F-A312-32C25EABD012}"/>
                  </a:ext>
                </a:extLst>
              </p:cNvPr>
              <p:cNvGrpSpPr/>
              <p:nvPr/>
            </p:nvGrpSpPr>
            <p:grpSpPr>
              <a:xfrm>
                <a:off x="1076612" y="4414416"/>
                <a:ext cx="1259586" cy="1259586"/>
                <a:chOff x="1076612" y="4414416"/>
                <a:chExt cx="1259586" cy="1259586"/>
              </a:xfrm>
              <a:solidFill>
                <a:schemeClr val="accent1"/>
              </a:solidFill>
            </p:grpSpPr>
            <p:sp>
              <p:nvSpPr>
                <p:cNvPr id="98" name="Freeform 97">
                  <a:extLst>
                    <a:ext uri="{FF2B5EF4-FFF2-40B4-BE49-F238E27FC236}">
                      <a16:creationId xmlns:a16="http://schemas.microsoft.com/office/drawing/2014/main" id="{CC27DD0B-8645-BC43-B677-54FBCC3DAD77}"/>
                    </a:ext>
                  </a:extLst>
                </p:cNvPr>
                <p:cNvSpPr/>
                <p:nvPr/>
              </p:nvSpPr>
              <p:spPr>
                <a:xfrm>
                  <a:off x="1076612" y="4414416"/>
                  <a:ext cx="1259586" cy="1259586"/>
                </a:xfrm>
                <a:custGeom>
                  <a:avLst/>
                  <a:gdLst>
                    <a:gd name="connsiteX0" fmla="*/ 629888 w 1259586"/>
                    <a:gd name="connsiteY0" fmla="*/ 1259586 h 1259586"/>
                    <a:gd name="connsiteX1" fmla="*/ 0 w 1259586"/>
                    <a:gd name="connsiteY1" fmla="*/ 629888 h 1259586"/>
                    <a:gd name="connsiteX2" fmla="*/ 629698 w 1259586"/>
                    <a:gd name="connsiteY2" fmla="*/ 0 h 1259586"/>
                    <a:gd name="connsiteX3" fmla="*/ 1259586 w 1259586"/>
                    <a:gd name="connsiteY3" fmla="*/ 629698 h 1259586"/>
                    <a:gd name="connsiteX4" fmla="*/ 1259586 w 1259586"/>
                    <a:gd name="connsiteY4" fmla="*/ 629888 h 1259586"/>
                    <a:gd name="connsiteX5" fmla="*/ 629888 w 1259586"/>
                    <a:gd name="connsiteY5" fmla="*/ 1259586 h 12595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59586" h="1259586">
                      <a:moveTo>
                        <a:pt x="629888" y="1259586"/>
                      </a:moveTo>
                      <a:cubicBezTo>
                        <a:pt x="282063" y="1259639"/>
                        <a:pt x="53" y="977713"/>
                        <a:pt x="0" y="629888"/>
                      </a:cubicBezTo>
                      <a:cubicBezTo>
                        <a:pt x="-53" y="282063"/>
                        <a:pt x="281873" y="53"/>
                        <a:pt x="629698" y="0"/>
                      </a:cubicBezTo>
                      <a:cubicBezTo>
                        <a:pt x="977523" y="-53"/>
                        <a:pt x="1259533" y="281873"/>
                        <a:pt x="1259586" y="629698"/>
                      </a:cubicBezTo>
                      <a:cubicBezTo>
                        <a:pt x="1259586" y="629761"/>
                        <a:pt x="1259586" y="629825"/>
                        <a:pt x="1259586" y="629888"/>
                      </a:cubicBezTo>
                      <a:cubicBezTo>
                        <a:pt x="1259166" y="977487"/>
                        <a:pt x="977487" y="1259166"/>
                        <a:pt x="629888" y="1259586"/>
                      </a:cubicBezTo>
                      <a:close/>
                    </a:path>
                  </a:pathLst>
                </a:custGeom>
                <a:solidFill>
                  <a:srgbClr val="4A4F5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9" name="Freeform 98">
                  <a:extLst>
                    <a:ext uri="{FF2B5EF4-FFF2-40B4-BE49-F238E27FC236}">
                      <a16:creationId xmlns:a16="http://schemas.microsoft.com/office/drawing/2014/main" id="{F05F1EF3-8C0A-B542-81A8-2098F1EAA71D}"/>
                    </a:ext>
                  </a:extLst>
                </p:cNvPr>
                <p:cNvSpPr/>
                <p:nvPr/>
              </p:nvSpPr>
              <p:spPr>
                <a:xfrm>
                  <a:off x="1496950" y="4780462"/>
                  <a:ext cx="419100" cy="419100"/>
                </a:xfrm>
                <a:custGeom>
                  <a:avLst/>
                  <a:gdLst>
                    <a:gd name="connsiteX0" fmla="*/ 419100 w 419100"/>
                    <a:gd name="connsiteY0" fmla="*/ 209550 h 419100"/>
                    <a:gd name="connsiteX1" fmla="*/ 209550 w 419100"/>
                    <a:gd name="connsiteY1" fmla="*/ 419100 h 419100"/>
                    <a:gd name="connsiteX2" fmla="*/ 0 w 419100"/>
                    <a:gd name="connsiteY2" fmla="*/ 209550 h 419100"/>
                    <a:gd name="connsiteX3" fmla="*/ 209550 w 419100"/>
                    <a:gd name="connsiteY3" fmla="*/ 0 h 419100"/>
                    <a:gd name="connsiteX4" fmla="*/ 419100 w 419100"/>
                    <a:gd name="connsiteY4" fmla="*/ 209550 h 419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9100" h="419100">
                      <a:moveTo>
                        <a:pt x="419100" y="209550"/>
                      </a:moveTo>
                      <a:cubicBezTo>
                        <a:pt x="419100" y="325281"/>
                        <a:pt x="325281" y="419100"/>
                        <a:pt x="209550" y="419100"/>
                      </a:cubicBezTo>
                      <a:cubicBezTo>
                        <a:pt x="93819" y="419100"/>
                        <a:pt x="0" y="325281"/>
                        <a:pt x="0" y="209550"/>
                      </a:cubicBezTo>
                      <a:cubicBezTo>
                        <a:pt x="0" y="93819"/>
                        <a:pt x="93819" y="0"/>
                        <a:pt x="209550" y="0"/>
                      </a:cubicBezTo>
                      <a:cubicBezTo>
                        <a:pt x="325281" y="0"/>
                        <a:pt x="419100" y="93819"/>
                        <a:pt x="419100" y="209550"/>
                      </a:cubicBezTo>
                      <a:close/>
                    </a:path>
                  </a:pathLst>
                </a:custGeom>
                <a:no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0" name="Freeform 99">
                  <a:extLst>
                    <a:ext uri="{FF2B5EF4-FFF2-40B4-BE49-F238E27FC236}">
                      <a16:creationId xmlns:a16="http://schemas.microsoft.com/office/drawing/2014/main" id="{A6DBE36E-9396-1D49-88E6-2A3BE4B0AB88}"/>
                    </a:ext>
                  </a:extLst>
                </p:cNvPr>
                <p:cNvSpPr/>
                <p:nvPr/>
              </p:nvSpPr>
              <p:spPr>
                <a:xfrm>
                  <a:off x="1496950" y="4779799"/>
                  <a:ext cx="419100" cy="545302"/>
                </a:xfrm>
                <a:custGeom>
                  <a:avLst/>
                  <a:gdLst>
                    <a:gd name="connsiteX0" fmla="*/ 419100 w 419100"/>
                    <a:gd name="connsiteY0" fmla="*/ 209928 h 545302"/>
                    <a:gd name="connsiteX1" fmla="*/ 209928 w 419100"/>
                    <a:gd name="connsiteY1" fmla="*/ 0 h 545302"/>
                    <a:gd name="connsiteX2" fmla="*/ 0 w 419100"/>
                    <a:gd name="connsiteY2" fmla="*/ 209173 h 545302"/>
                    <a:gd name="connsiteX3" fmla="*/ 57150 w 419100"/>
                    <a:gd name="connsiteY3" fmla="*/ 353374 h 545302"/>
                    <a:gd name="connsiteX4" fmla="*/ 126111 w 419100"/>
                    <a:gd name="connsiteY4" fmla="*/ 532254 h 545302"/>
                    <a:gd name="connsiteX5" fmla="*/ 126111 w 419100"/>
                    <a:gd name="connsiteY5" fmla="*/ 532254 h 545302"/>
                    <a:gd name="connsiteX6" fmla="*/ 139160 w 419100"/>
                    <a:gd name="connsiteY6" fmla="*/ 545303 h 545302"/>
                    <a:gd name="connsiteX7" fmla="*/ 280320 w 419100"/>
                    <a:gd name="connsiteY7" fmla="*/ 545303 h 545302"/>
                    <a:gd name="connsiteX8" fmla="*/ 293370 w 419100"/>
                    <a:gd name="connsiteY8" fmla="*/ 532254 h 545302"/>
                    <a:gd name="connsiteX9" fmla="*/ 293370 w 419100"/>
                    <a:gd name="connsiteY9" fmla="*/ 532254 h 545302"/>
                    <a:gd name="connsiteX10" fmla="*/ 365664 w 419100"/>
                    <a:gd name="connsiteY10" fmla="*/ 349659 h 545302"/>
                    <a:gd name="connsiteX11" fmla="*/ 419100 w 419100"/>
                    <a:gd name="connsiteY11" fmla="*/ 209928 h 545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19100" h="545302">
                      <a:moveTo>
                        <a:pt x="419100" y="209928"/>
                      </a:moveTo>
                      <a:cubicBezTo>
                        <a:pt x="419308" y="94196"/>
                        <a:pt x="325659" y="209"/>
                        <a:pt x="209928" y="0"/>
                      </a:cubicBezTo>
                      <a:cubicBezTo>
                        <a:pt x="94196" y="-208"/>
                        <a:pt x="209" y="93441"/>
                        <a:pt x="0" y="209173"/>
                      </a:cubicBezTo>
                      <a:cubicBezTo>
                        <a:pt x="-96" y="262780"/>
                        <a:pt x="20356" y="314386"/>
                        <a:pt x="57150" y="353374"/>
                      </a:cubicBezTo>
                      <a:cubicBezTo>
                        <a:pt x="102039" y="402067"/>
                        <a:pt x="126697" y="466029"/>
                        <a:pt x="126111" y="532254"/>
                      </a:cubicBezTo>
                      <a:lnTo>
                        <a:pt x="126111" y="532254"/>
                      </a:lnTo>
                      <a:cubicBezTo>
                        <a:pt x="126111" y="539460"/>
                        <a:pt x="131953" y="545303"/>
                        <a:pt x="139160" y="545303"/>
                      </a:cubicBezTo>
                      <a:lnTo>
                        <a:pt x="280320" y="545303"/>
                      </a:lnTo>
                      <a:cubicBezTo>
                        <a:pt x="287527" y="545303"/>
                        <a:pt x="293370" y="539460"/>
                        <a:pt x="293370" y="532254"/>
                      </a:cubicBezTo>
                      <a:lnTo>
                        <a:pt x="293370" y="532254"/>
                      </a:lnTo>
                      <a:cubicBezTo>
                        <a:pt x="294136" y="464558"/>
                        <a:pt x="319882" y="399532"/>
                        <a:pt x="365664" y="349659"/>
                      </a:cubicBezTo>
                      <a:cubicBezTo>
                        <a:pt x="400148" y="311296"/>
                        <a:pt x="419186" y="261511"/>
                        <a:pt x="419100" y="209928"/>
                      </a:cubicBezTo>
                      <a:close/>
                    </a:path>
                  </a:pathLst>
                </a:custGeom>
                <a:noFill/>
                <a:ln w="41910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1" name="Freeform 100">
                  <a:extLst>
                    <a:ext uri="{FF2B5EF4-FFF2-40B4-BE49-F238E27FC236}">
                      <a16:creationId xmlns:a16="http://schemas.microsoft.com/office/drawing/2014/main" id="{E86D43EC-2D7B-534F-9B0E-D8B8125634A4}"/>
                    </a:ext>
                  </a:extLst>
                </p:cNvPr>
                <p:cNvSpPr/>
                <p:nvPr/>
              </p:nvSpPr>
              <p:spPr>
                <a:xfrm>
                  <a:off x="1684497" y="4971820"/>
                  <a:ext cx="44005" cy="80771"/>
                </a:xfrm>
                <a:custGeom>
                  <a:avLst/>
                  <a:gdLst>
                    <a:gd name="connsiteX0" fmla="*/ 44006 w 44005"/>
                    <a:gd name="connsiteY0" fmla="*/ 40386 h 80771"/>
                    <a:gd name="connsiteX1" fmla="*/ 22003 w 44005"/>
                    <a:gd name="connsiteY1" fmla="*/ 80772 h 80771"/>
                    <a:gd name="connsiteX2" fmla="*/ 0 w 44005"/>
                    <a:gd name="connsiteY2" fmla="*/ 40386 h 80771"/>
                    <a:gd name="connsiteX3" fmla="*/ 22003 w 44005"/>
                    <a:gd name="connsiteY3" fmla="*/ 0 h 80771"/>
                    <a:gd name="connsiteX4" fmla="*/ 44006 w 44005"/>
                    <a:gd name="connsiteY4" fmla="*/ 40386 h 80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4005" h="80771">
                      <a:moveTo>
                        <a:pt x="44006" y="40386"/>
                      </a:moveTo>
                      <a:cubicBezTo>
                        <a:pt x="44006" y="62691"/>
                        <a:pt x="34155" y="80772"/>
                        <a:pt x="22003" y="80772"/>
                      </a:cubicBezTo>
                      <a:cubicBezTo>
                        <a:pt x="9851" y="80772"/>
                        <a:pt x="0" y="62691"/>
                        <a:pt x="0" y="40386"/>
                      </a:cubicBezTo>
                      <a:cubicBezTo>
                        <a:pt x="0" y="18081"/>
                        <a:pt x="9851" y="0"/>
                        <a:pt x="22003" y="0"/>
                      </a:cubicBezTo>
                      <a:cubicBezTo>
                        <a:pt x="34155" y="0"/>
                        <a:pt x="44006" y="18081"/>
                        <a:pt x="44006" y="40386"/>
                      </a:cubicBezTo>
                      <a:close/>
                    </a:path>
                  </a:pathLst>
                </a:custGeom>
                <a:noFill/>
                <a:ln w="25146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2" name="Freeform 101">
                  <a:extLst>
                    <a:ext uri="{FF2B5EF4-FFF2-40B4-BE49-F238E27FC236}">
                      <a16:creationId xmlns:a16="http://schemas.microsoft.com/office/drawing/2014/main" id="{E2AC5A23-35AB-4D4A-96B3-D3AAE9DA1D0E}"/>
                    </a:ext>
                  </a:extLst>
                </p:cNvPr>
                <p:cNvSpPr/>
                <p:nvPr/>
              </p:nvSpPr>
              <p:spPr>
                <a:xfrm rot="-2700000">
                  <a:off x="1603750" y="5026298"/>
                  <a:ext cx="34861" cy="63817"/>
                </a:xfrm>
                <a:custGeom>
                  <a:avLst/>
                  <a:gdLst>
                    <a:gd name="connsiteX0" fmla="*/ 34861 w 34861"/>
                    <a:gd name="connsiteY0" fmla="*/ 31909 h 63817"/>
                    <a:gd name="connsiteX1" fmla="*/ 17431 w 34861"/>
                    <a:gd name="connsiteY1" fmla="*/ 63818 h 63817"/>
                    <a:gd name="connsiteX2" fmla="*/ 0 w 34861"/>
                    <a:gd name="connsiteY2" fmla="*/ 31909 h 63817"/>
                    <a:gd name="connsiteX3" fmla="*/ 17431 w 34861"/>
                    <a:gd name="connsiteY3" fmla="*/ 0 h 63817"/>
                    <a:gd name="connsiteX4" fmla="*/ 34861 w 34861"/>
                    <a:gd name="connsiteY4" fmla="*/ 31909 h 63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861" h="63817">
                      <a:moveTo>
                        <a:pt x="34861" y="31909"/>
                      </a:moveTo>
                      <a:cubicBezTo>
                        <a:pt x="34861" y="49531"/>
                        <a:pt x="27057" y="63818"/>
                        <a:pt x="17431" y="63818"/>
                      </a:cubicBezTo>
                      <a:cubicBezTo>
                        <a:pt x="7804" y="63818"/>
                        <a:pt x="0" y="49531"/>
                        <a:pt x="0" y="31909"/>
                      </a:cubicBezTo>
                      <a:cubicBezTo>
                        <a:pt x="0" y="14286"/>
                        <a:pt x="7804" y="0"/>
                        <a:pt x="17431" y="0"/>
                      </a:cubicBezTo>
                      <a:cubicBezTo>
                        <a:pt x="27057" y="0"/>
                        <a:pt x="34861" y="14286"/>
                        <a:pt x="34861" y="31909"/>
                      </a:cubicBezTo>
                      <a:close/>
                    </a:path>
                  </a:pathLst>
                </a:custGeom>
                <a:noFill/>
                <a:ln w="25146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3" name="Freeform 102">
                  <a:extLst>
                    <a:ext uri="{FF2B5EF4-FFF2-40B4-BE49-F238E27FC236}">
                      <a16:creationId xmlns:a16="http://schemas.microsoft.com/office/drawing/2014/main" id="{12E8B2E0-C872-4F4F-9D66-928FD837AFC6}"/>
                    </a:ext>
                  </a:extLst>
                </p:cNvPr>
                <p:cNvSpPr/>
                <p:nvPr/>
              </p:nvSpPr>
              <p:spPr>
                <a:xfrm>
                  <a:off x="1643921" y="5060593"/>
                  <a:ext cx="29735" cy="248983"/>
                </a:xfrm>
                <a:custGeom>
                  <a:avLst/>
                  <a:gdLst>
                    <a:gd name="connsiteX0" fmla="*/ 26098 w 29735"/>
                    <a:gd name="connsiteY0" fmla="*/ 248984 h 248983"/>
                    <a:gd name="connsiteX1" fmla="*/ 0 w 29735"/>
                    <a:gd name="connsiteY1" fmla="*/ 0 h 248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735" h="248983">
                      <a:moveTo>
                        <a:pt x="26098" y="248984"/>
                      </a:moveTo>
                      <a:cubicBezTo>
                        <a:pt x="26098" y="248984"/>
                        <a:pt x="44101" y="69056"/>
                        <a:pt x="0" y="0"/>
                      </a:cubicBezTo>
                    </a:path>
                  </a:pathLst>
                </a:custGeom>
                <a:noFill/>
                <a:ln w="25146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4" name="Freeform 103">
                  <a:extLst>
                    <a:ext uri="{FF2B5EF4-FFF2-40B4-BE49-F238E27FC236}">
                      <a16:creationId xmlns:a16="http://schemas.microsoft.com/office/drawing/2014/main" id="{1C707107-11CE-8349-A1D1-3C29B74793B9}"/>
                    </a:ext>
                  </a:extLst>
                </p:cNvPr>
                <p:cNvSpPr/>
                <p:nvPr/>
              </p:nvSpPr>
              <p:spPr>
                <a:xfrm>
                  <a:off x="1631634" y="5046877"/>
                  <a:ext cx="86487" cy="37842"/>
                </a:xfrm>
                <a:custGeom>
                  <a:avLst/>
                  <a:gdLst>
                    <a:gd name="connsiteX0" fmla="*/ 0 w 86487"/>
                    <a:gd name="connsiteY0" fmla="*/ 36671 h 37842"/>
                    <a:gd name="connsiteX1" fmla="*/ 86487 w 86487"/>
                    <a:gd name="connsiteY1" fmla="*/ 0 h 37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6487" h="37842">
                      <a:moveTo>
                        <a:pt x="0" y="36671"/>
                      </a:moveTo>
                      <a:cubicBezTo>
                        <a:pt x="33493" y="42190"/>
                        <a:pt x="67168" y="27911"/>
                        <a:pt x="86487" y="0"/>
                      </a:cubicBezTo>
                    </a:path>
                  </a:pathLst>
                </a:custGeom>
                <a:noFill/>
                <a:ln w="25146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5" name="Freeform 104">
                  <a:extLst>
                    <a:ext uri="{FF2B5EF4-FFF2-40B4-BE49-F238E27FC236}">
                      <a16:creationId xmlns:a16="http://schemas.microsoft.com/office/drawing/2014/main" id="{ACC43BB9-E223-F849-89B9-C56FE93CC568}"/>
                    </a:ext>
                  </a:extLst>
                </p:cNvPr>
                <p:cNvSpPr/>
                <p:nvPr/>
              </p:nvSpPr>
              <p:spPr>
                <a:xfrm>
                  <a:off x="1684497" y="4971820"/>
                  <a:ext cx="44005" cy="80771"/>
                </a:xfrm>
                <a:custGeom>
                  <a:avLst/>
                  <a:gdLst>
                    <a:gd name="connsiteX0" fmla="*/ 44006 w 44005"/>
                    <a:gd name="connsiteY0" fmla="*/ 40386 h 80771"/>
                    <a:gd name="connsiteX1" fmla="*/ 22003 w 44005"/>
                    <a:gd name="connsiteY1" fmla="*/ 80772 h 80771"/>
                    <a:gd name="connsiteX2" fmla="*/ 0 w 44005"/>
                    <a:gd name="connsiteY2" fmla="*/ 40386 h 80771"/>
                    <a:gd name="connsiteX3" fmla="*/ 22003 w 44005"/>
                    <a:gd name="connsiteY3" fmla="*/ 0 h 80771"/>
                    <a:gd name="connsiteX4" fmla="*/ 44006 w 44005"/>
                    <a:gd name="connsiteY4" fmla="*/ 40386 h 80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4005" h="80771">
                      <a:moveTo>
                        <a:pt x="44006" y="40386"/>
                      </a:moveTo>
                      <a:cubicBezTo>
                        <a:pt x="44006" y="62691"/>
                        <a:pt x="34155" y="80772"/>
                        <a:pt x="22003" y="80772"/>
                      </a:cubicBezTo>
                      <a:cubicBezTo>
                        <a:pt x="9851" y="80772"/>
                        <a:pt x="0" y="62691"/>
                        <a:pt x="0" y="40386"/>
                      </a:cubicBezTo>
                      <a:cubicBezTo>
                        <a:pt x="0" y="18081"/>
                        <a:pt x="9851" y="0"/>
                        <a:pt x="22003" y="0"/>
                      </a:cubicBezTo>
                      <a:cubicBezTo>
                        <a:pt x="34155" y="0"/>
                        <a:pt x="44006" y="18081"/>
                        <a:pt x="44006" y="40386"/>
                      </a:cubicBezTo>
                      <a:close/>
                    </a:path>
                  </a:pathLst>
                </a:custGeom>
                <a:noFill/>
                <a:ln w="25146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6" name="Freeform 105">
                  <a:extLst>
                    <a:ext uri="{FF2B5EF4-FFF2-40B4-BE49-F238E27FC236}">
                      <a16:creationId xmlns:a16="http://schemas.microsoft.com/office/drawing/2014/main" id="{FEBDE533-64FB-0A42-B3D0-E4EF49765441}"/>
                    </a:ext>
                  </a:extLst>
                </p:cNvPr>
                <p:cNvSpPr/>
                <p:nvPr/>
              </p:nvSpPr>
              <p:spPr>
                <a:xfrm rot="-2700000">
                  <a:off x="1759973" y="5040763"/>
                  <a:ext cx="63817" cy="34861"/>
                </a:xfrm>
                <a:custGeom>
                  <a:avLst/>
                  <a:gdLst>
                    <a:gd name="connsiteX0" fmla="*/ 63818 w 63817"/>
                    <a:gd name="connsiteY0" fmla="*/ 17431 h 34861"/>
                    <a:gd name="connsiteX1" fmla="*/ 31909 w 63817"/>
                    <a:gd name="connsiteY1" fmla="*/ 34862 h 34861"/>
                    <a:gd name="connsiteX2" fmla="*/ 0 w 63817"/>
                    <a:gd name="connsiteY2" fmla="*/ 17431 h 34861"/>
                    <a:gd name="connsiteX3" fmla="*/ 31909 w 63817"/>
                    <a:gd name="connsiteY3" fmla="*/ 0 h 34861"/>
                    <a:gd name="connsiteX4" fmla="*/ 63818 w 63817"/>
                    <a:gd name="connsiteY4" fmla="*/ 17431 h 34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3817" h="34861">
                      <a:moveTo>
                        <a:pt x="63818" y="17431"/>
                      </a:moveTo>
                      <a:cubicBezTo>
                        <a:pt x="63818" y="27058"/>
                        <a:pt x="49531" y="34862"/>
                        <a:pt x="31909" y="34862"/>
                      </a:cubicBezTo>
                      <a:cubicBezTo>
                        <a:pt x="14286" y="34862"/>
                        <a:pt x="0" y="27058"/>
                        <a:pt x="0" y="17431"/>
                      </a:cubicBezTo>
                      <a:cubicBezTo>
                        <a:pt x="0" y="7804"/>
                        <a:pt x="14286" y="0"/>
                        <a:pt x="31909" y="0"/>
                      </a:cubicBezTo>
                      <a:cubicBezTo>
                        <a:pt x="49531" y="0"/>
                        <a:pt x="63818" y="7804"/>
                        <a:pt x="63818" y="17431"/>
                      </a:cubicBezTo>
                      <a:close/>
                    </a:path>
                  </a:pathLst>
                </a:custGeom>
                <a:noFill/>
                <a:ln w="25146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7" name="Freeform 106">
                  <a:extLst>
                    <a:ext uri="{FF2B5EF4-FFF2-40B4-BE49-F238E27FC236}">
                      <a16:creationId xmlns:a16="http://schemas.microsoft.com/office/drawing/2014/main" id="{ED0E1D00-6183-CD4C-835B-4C0F88B6F022}"/>
                    </a:ext>
                  </a:extLst>
                </p:cNvPr>
                <p:cNvSpPr/>
                <p:nvPr/>
              </p:nvSpPr>
              <p:spPr>
                <a:xfrm>
                  <a:off x="1739312" y="5060593"/>
                  <a:ext cx="29767" cy="248983"/>
                </a:xfrm>
                <a:custGeom>
                  <a:avLst/>
                  <a:gdLst>
                    <a:gd name="connsiteX0" fmla="*/ 3669 w 29767"/>
                    <a:gd name="connsiteY0" fmla="*/ 248984 h 248983"/>
                    <a:gd name="connsiteX1" fmla="*/ 29767 w 29767"/>
                    <a:gd name="connsiteY1" fmla="*/ 0 h 248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767" h="248983">
                      <a:moveTo>
                        <a:pt x="3669" y="248984"/>
                      </a:moveTo>
                      <a:cubicBezTo>
                        <a:pt x="3669" y="248984"/>
                        <a:pt x="-14429" y="69056"/>
                        <a:pt x="29767" y="0"/>
                      </a:cubicBezTo>
                    </a:path>
                  </a:pathLst>
                </a:custGeom>
                <a:noFill/>
                <a:ln w="25146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8" name="Freeform 107">
                  <a:extLst>
                    <a:ext uri="{FF2B5EF4-FFF2-40B4-BE49-F238E27FC236}">
                      <a16:creationId xmlns:a16="http://schemas.microsoft.com/office/drawing/2014/main" id="{038B5DEA-86FA-324C-A301-BE1EE73C6079}"/>
                    </a:ext>
                  </a:extLst>
                </p:cNvPr>
                <p:cNvSpPr/>
                <p:nvPr/>
              </p:nvSpPr>
              <p:spPr>
                <a:xfrm>
                  <a:off x="1694880" y="5046877"/>
                  <a:ext cx="86487" cy="37850"/>
                </a:xfrm>
                <a:custGeom>
                  <a:avLst/>
                  <a:gdLst>
                    <a:gd name="connsiteX0" fmla="*/ 86487 w 86487"/>
                    <a:gd name="connsiteY0" fmla="*/ 36671 h 37850"/>
                    <a:gd name="connsiteX1" fmla="*/ 0 w 86487"/>
                    <a:gd name="connsiteY1" fmla="*/ 0 h 37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6487" h="37850">
                      <a:moveTo>
                        <a:pt x="86487" y="36671"/>
                      </a:moveTo>
                      <a:cubicBezTo>
                        <a:pt x="52991" y="42214"/>
                        <a:pt x="19304" y="27930"/>
                        <a:pt x="0" y="0"/>
                      </a:cubicBezTo>
                    </a:path>
                  </a:pathLst>
                </a:custGeom>
                <a:noFill/>
                <a:ln w="25146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9" name="Freeform 108">
                  <a:extLst>
                    <a:ext uri="{FF2B5EF4-FFF2-40B4-BE49-F238E27FC236}">
                      <a16:creationId xmlns:a16="http://schemas.microsoft.com/office/drawing/2014/main" id="{3362A16E-7C5B-AC4F-91C6-1C94A48D2AA6}"/>
                    </a:ext>
                  </a:extLst>
                </p:cNvPr>
                <p:cNvSpPr/>
                <p:nvPr/>
              </p:nvSpPr>
              <p:spPr>
                <a:xfrm>
                  <a:off x="1643921" y="5383776"/>
                  <a:ext cx="125158" cy="9525"/>
                </a:xfrm>
                <a:custGeom>
                  <a:avLst/>
                  <a:gdLst>
                    <a:gd name="connsiteX0" fmla="*/ 0 w 125158"/>
                    <a:gd name="connsiteY0" fmla="*/ 0 h 9525"/>
                    <a:gd name="connsiteX1" fmla="*/ 125159 w 125158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5158" h="9525">
                      <a:moveTo>
                        <a:pt x="0" y="0"/>
                      </a:moveTo>
                      <a:lnTo>
                        <a:pt x="125159" y="0"/>
                      </a:lnTo>
                    </a:path>
                  </a:pathLst>
                </a:custGeom>
                <a:ln w="41910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0" name="Freeform 109">
                  <a:extLst>
                    <a:ext uri="{FF2B5EF4-FFF2-40B4-BE49-F238E27FC236}">
                      <a16:creationId xmlns:a16="http://schemas.microsoft.com/office/drawing/2014/main" id="{E176908B-DAAF-8044-AB20-6ACB03CE93CD}"/>
                    </a:ext>
                  </a:extLst>
                </p:cNvPr>
                <p:cNvSpPr/>
                <p:nvPr/>
              </p:nvSpPr>
              <p:spPr>
                <a:xfrm>
                  <a:off x="1660875" y="5435592"/>
                  <a:ext cx="91249" cy="9525"/>
                </a:xfrm>
                <a:custGeom>
                  <a:avLst/>
                  <a:gdLst>
                    <a:gd name="connsiteX0" fmla="*/ 0 w 91249"/>
                    <a:gd name="connsiteY0" fmla="*/ 0 h 9525"/>
                    <a:gd name="connsiteX1" fmla="*/ 91250 w 91249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1249" h="9525">
                      <a:moveTo>
                        <a:pt x="0" y="0"/>
                      </a:moveTo>
                      <a:lnTo>
                        <a:pt x="91250" y="0"/>
                      </a:lnTo>
                    </a:path>
                  </a:pathLst>
                </a:custGeom>
                <a:ln w="41910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1" name="Freeform 110">
                  <a:extLst>
                    <a:ext uri="{FF2B5EF4-FFF2-40B4-BE49-F238E27FC236}">
                      <a16:creationId xmlns:a16="http://schemas.microsoft.com/office/drawing/2014/main" id="{916C79C4-7809-764C-828D-D4F30BE145DC}"/>
                    </a:ext>
                  </a:extLst>
                </p:cNvPr>
                <p:cNvSpPr/>
                <p:nvPr/>
              </p:nvSpPr>
              <p:spPr>
                <a:xfrm>
                  <a:off x="1706500" y="4652923"/>
                  <a:ext cx="9525" cy="46863"/>
                </a:xfrm>
                <a:custGeom>
                  <a:avLst/>
                  <a:gdLst>
                    <a:gd name="connsiteX0" fmla="*/ 0 w 9525"/>
                    <a:gd name="connsiteY0" fmla="*/ 46863 h 46863"/>
                    <a:gd name="connsiteX1" fmla="*/ 0 w 9525"/>
                    <a:gd name="connsiteY1" fmla="*/ 0 h 468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46863">
                      <a:moveTo>
                        <a:pt x="0" y="46863"/>
                      </a:moveTo>
                      <a:lnTo>
                        <a:pt x="0" y="0"/>
                      </a:lnTo>
                    </a:path>
                  </a:pathLst>
                </a:custGeom>
                <a:ln w="26384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2" name="Freeform 111">
                  <a:extLst>
                    <a:ext uri="{FF2B5EF4-FFF2-40B4-BE49-F238E27FC236}">
                      <a16:creationId xmlns:a16="http://schemas.microsoft.com/office/drawing/2014/main" id="{E932FFA9-5F34-1741-BE3B-A2EF9836DE69}"/>
                    </a:ext>
                  </a:extLst>
                </p:cNvPr>
                <p:cNvSpPr/>
                <p:nvPr/>
              </p:nvSpPr>
              <p:spPr>
                <a:xfrm>
                  <a:off x="1851566" y="4698071"/>
                  <a:ext cx="23526" cy="40576"/>
                </a:xfrm>
                <a:custGeom>
                  <a:avLst/>
                  <a:gdLst>
                    <a:gd name="connsiteX0" fmla="*/ 0 w 23526"/>
                    <a:gd name="connsiteY0" fmla="*/ 40576 h 40576"/>
                    <a:gd name="connsiteX1" fmla="*/ 23527 w 23526"/>
                    <a:gd name="connsiteY1" fmla="*/ 0 h 40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526" h="40576">
                      <a:moveTo>
                        <a:pt x="0" y="40576"/>
                      </a:moveTo>
                      <a:lnTo>
                        <a:pt x="23527" y="0"/>
                      </a:lnTo>
                    </a:path>
                  </a:pathLst>
                </a:custGeom>
                <a:ln w="26384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3" name="Freeform 112">
                  <a:extLst>
                    <a:ext uri="{FF2B5EF4-FFF2-40B4-BE49-F238E27FC236}">
                      <a16:creationId xmlns:a16="http://schemas.microsoft.com/office/drawing/2014/main" id="{C5AE90B3-AB2B-8448-913E-D152EFA3D51C}"/>
                    </a:ext>
                  </a:extLst>
                </p:cNvPr>
                <p:cNvSpPr/>
                <p:nvPr/>
              </p:nvSpPr>
              <p:spPr>
                <a:xfrm>
                  <a:off x="1957865" y="4821420"/>
                  <a:ext cx="40576" cy="23526"/>
                </a:xfrm>
                <a:custGeom>
                  <a:avLst/>
                  <a:gdLst>
                    <a:gd name="connsiteX0" fmla="*/ 0 w 40576"/>
                    <a:gd name="connsiteY0" fmla="*/ 23527 h 23526"/>
                    <a:gd name="connsiteX1" fmla="*/ 40576 w 40576"/>
                    <a:gd name="connsiteY1" fmla="*/ 0 h 2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576" h="23526">
                      <a:moveTo>
                        <a:pt x="0" y="23527"/>
                      </a:moveTo>
                      <a:lnTo>
                        <a:pt x="40576" y="0"/>
                      </a:lnTo>
                    </a:path>
                  </a:pathLst>
                </a:custGeom>
                <a:ln w="26384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4" name="Freeform 113">
                  <a:extLst>
                    <a:ext uri="{FF2B5EF4-FFF2-40B4-BE49-F238E27FC236}">
                      <a16:creationId xmlns:a16="http://schemas.microsoft.com/office/drawing/2014/main" id="{8B8F9664-C3B1-6D40-9C18-1FF55B2A4D4E}"/>
                    </a:ext>
                  </a:extLst>
                </p:cNvPr>
                <p:cNvSpPr/>
                <p:nvPr/>
              </p:nvSpPr>
              <p:spPr>
                <a:xfrm>
                  <a:off x="1996727" y="4990012"/>
                  <a:ext cx="46863" cy="9525"/>
                </a:xfrm>
                <a:custGeom>
                  <a:avLst/>
                  <a:gdLst>
                    <a:gd name="connsiteX0" fmla="*/ 0 w 46863"/>
                    <a:gd name="connsiteY0" fmla="*/ 0 h 9525"/>
                    <a:gd name="connsiteX1" fmla="*/ 46863 w 46863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6863" h="9525">
                      <a:moveTo>
                        <a:pt x="0" y="0"/>
                      </a:moveTo>
                      <a:lnTo>
                        <a:pt x="46863" y="0"/>
                      </a:lnTo>
                    </a:path>
                  </a:pathLst>
                </a:custGeom>
                <a:ln w="26384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5" name="Freeform 114">
                  <a:extLst>
                    <a:ext uri="{FF2B5EF4-FFF2-40B4-BE49-F238E27FC236}">
                      <a16:creationId xmlns:a16="http://schemas.microsoft.com/office/drawing/2014/main" id="{B4CFAF6E-9359-1649-B369-6A54855CAE6F}"/>
                    </a:ext>
                  </a:extLst>
                </p:cNvPr>
                <p:cNvSpPr/>
                <p:nvPr/>
              </p:nvSpPr>
              <p:spPr>
                <a:xfrm>
                  <a:off x="1957865" y="5135078"/>
                  <a:ext cx="40576" cy="23526"/>
                </a:xfrm>
                <a:custGeom>
                  <a:avLst/>
                  <a:gdLst>
                    <a:gd name="connsiteX0" fmla="*/ 0 w 40576"/>
                    <a:gd name="connsiteY0" fmla="*/ 0 h 23526"/>
                    <a:gd name="connsiteX1" fmla="*/ 40576 w 40576"/>
                    <a:gd name="connsiteY1" fmla="*/ 23527 h 2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576" h="23526">
                      <a:moveTo>
                        <a:pt x="0" y="0"/>
                      </a:moveTo>
                      <a:lnTo>
                        <a:pt x="40576" y="23527"/>
                      </a:lnTo>
                    </a:path>
                  </a:pathLst>
                </a:custGeom>
                <a:ln w="26384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6" name="Freeform 115">
                  <a:extLst>
                    <a:ext uri="{FF2B5EF4-FFF2-40B4-BE49-F238E27FC236}">
                      <a16:creationId xmlns:a16="http://schemas.microsoft.com/office/drawing/2014/main" id="{CA7751A1-2C83-2749-9370-552DE47F8820}"/>
                    </a:ext>
                  </a:extLst>
                </p:cNvPr>
                <p:cNvSpPr/>
                <p:nvPr/>
              </p:nvSpPr>
              <p:spPr>
                <a:xfrm>
                  <a:off x="1537908" y="4698071"/>
                  <a:ext cx="23431" cy="40576"/>
                </a:xfrm>
                <a:custGeom>
                  <a:avLst/>
                  <a:gdLst>
                    <a:gd name="connsiteX0" fmla="*/ 23431 w 23431"/>
                    <a:gd name="connsiteY0" fmla="*/ 40576 h 40576"/>
                    <a:gd name="connsiteX1" fmla="*/ 0 w 23431"/>
                    <a:gd name="connsiteY1" fmla="*/ 0 h 40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431" h="40576">
                      <a:moveTo>
                        <a:pt x="23431" y="40576"/>
                      </a:moveTo>
                      <a:lnTo>
                        <a:pt x="0" y="0"/>
                      </a:lnTo>
                    </a:path>
                  </a:pathLst>
                </a:custGeom>
                <a:ln w="26384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7" name="Freeform 116">
                  <a:extLst>
                    <a:ext uri="{FF2B5EF4-FFF2-40B4-BE49-F238E27FC236}">
                      <a16:creationId xmlns:a16="http://schemas.microsoft.com/office/drawing/2014/main" id="{B170AB8E-9075-8D42-A49B-FABE696ACFCB}"/>
                    </a:ext>
                  </a:extLst>
                </p:cNvPr>
                <p:cNvSpPr/>
                <p:nvPr/>
              </p:nvSpPr>
              <p:spPr>
                <a:xfrm>
                  <a:off x="1414559" y="4821420"/>
                  <a:ext cx="40576" cy="23526"/>
                </a:xfrm>
                <a:custGeom>
                  <a:avLst/>
                  <a:gdLst>
                    <a:gd name="connsiteX0" fmla="*/ 40576 w 40576"/>
                    <a:gd name="connsiteY0" fmla="*/ 23527 h 23526"/>
                    <a:gd name="connsiteX1" fmla="*/ 0 w 40576"/>
                    <a:gd name="connsiteY1" fmla="*/ 0 h 2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576" h="23526">
                      <a:moveTo>
                        <a:pt x="40576" y="23527"/>
                      </a:moveTo>
                      <a:lnTo>
                        <a:pt x="0" y="0"/>
                      </a:lnTo>
                    </a:path>
                  </a:pathLst>
                </a:custGeom>
                <a:ln w="26384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8" name="Freeform 117">
                  <a:extLst>
                    <a:ext uri="{FF2B5EF4-FFF2-40B4-BE49-F238E27FC236}">
                      <a16:creationId xmlns:a16="http://schemas.microsoft.com/office/drawing/2014/main" id="{0B5B7989-09C0-A74C-AA4A-A54DB3961C90}"/>
                    </a:ext>
                  </a:extLst>
                </p:cNvPr>
                <p:cNvSpPr/>
                <p:nvPr/>
              </p:nvSpPr>
              <p:spPr>
                <a:xfrm>
                  <a:off x="1369315" y="4990012"/>
                  <a:ext cx="46958" cy="9525"/>
                </a:xfrm>
                <a:custGeom>
                  <a:avLst/>
                  <a:gdLst>
                    <a:gd name="connsiteX0" fmla="*/ 46958 w 46958"/>
                    <a:gd name="connsiteY0" fmla="*/ 0 h 9525"/>
                    <a:gd name="connsiteX1" fmla="*/ 0 w 46958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6958" h="9525">
                      <a:moveTo>
                        <a:pt x="46958" y="0"/>
                      </a:moveTo>
                      <a:lnTo>
                        <a:pt x="0" y="0"/>
                      </a:lnTo>
                    </a:path>
                  </a:pathLst>
                </a:custGeom>
                <a:ln w="26384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19" name="Freeform 118">
                  <a:extLst>
                    <a:ext uri="{FF2B5EF4-FFF2-40B4-BE49-F238E27FC236}">
                      <a16:creationId xmlns:a16="http://schemas.microsoft.com/office/drawing/2014/main" id="{2135F5A8-5F11-144D-A401-617999F999D5}"/>
                    </a:ext>
                  </a:extLst>
                </p:cNvPr>
                <p:cNvSpPr/>
                <p:nvPr/>
              </p:nvSpPr>
              <p:spPr>
                <a:xfrm>
                  <a:off x="1414559" y="5135078"/>
                  <a:ext cx="40576" cy="23526"/>
                </a:xfrm>
                <a:custGeom>
                  <a:avLst/>
                  <a:gdLst>
                    <a:gd name="connsiteX0" fmla="*/ 40576 w 40576"/>
                    <a:gd name="connsiteY0" fmla="*/ 0 h 23526"/>
                    <a:gd name="connsiteX1" fmla="*/ 0 w 40576"/>
                    <a:gd name="connsiteY1" fmla="*/ 23527 h 2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576" h="23526">
                      <a:moveTo>
                        <a:pt x="40576" y="0"/>
                      </a:moveTo>
                      <a:lnTo>
                        <a:pt x="0" y="23527"/>
                      </a:lnTo>
                    </a:path>
                  </a:pathLst>
                </a:custGeom>
                <a:ln w="26384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75" name="Graphic 107">
                <a:extLst>
                  <a:ext uri="{FF2B5EF4-FFF2-40B4-BE49-F238E27FC236}">
                    <a16:creationId xmlns:a16="http://schemas.microsoft.com/office/drawing/2014/main" id="{1EC07F8D-5DA0-5644-9C9A-EFF7262C0340}"/>
                  </a:ext>
                </a:extLst>
              </p:cNvPr>
              <p:cNvGrpSpPr/>
              <p:nvPr/>
            </p:nvGrpSpPr>
            <p:grpSpPr>
              <a:xfrm>
                <a:off x="1076612" y="4414416"/>
                <a:ext cx="1259586" cy="1259586"/>
                <a:chOff x="1076612" y="4414416"/>
                <a:chExt cx="1259586" cy="1259586"/>
              </a:xfrm>
              <a:solidFill>
                <a:schemeClr val="accent1"/>
              </a:solidFill>
            </p:grpSpPr>
            <p:sp>
              <p:nvSpPr>
                <p:cNvPr id="76" name="Freeform 75">
                  <a:extLst>
                    <a:ext uri="{FF2B5EF4-FFF2-40B4-BE49-F238E27FC236}">
                      <a16:creationId xmlns:a16="http://schemas.microsoft.com/office/drawing/2014/main" id="{45F3C3C9-A410-6848-A075-3D66673CAB19}"/>
                    </a:ext>
                  </a:extLst>
                </p:cNvPr>
                <p:cNvSpPr/>
                <p:nvPr/>
              </p:nvSpPr>
              <p:spPr>
                <a:xfrm>
                  <a:off x="1076612" y="4414416"/>
                  <a:ext cx="1259586" cy="1259586"/>
                </a:xfrm>
                <a:custGeom>
                  <a:avLst/>
                  <a:gdLst>
                    <a:gd name="connsiteX0" fmla="*/ 629888 w 1259586"/>
                    <a:gd name="connsiteY0" fmla="*/ 1259586 h 1259586"/>
                    <a:gd name="connsiteX1" fmla="*/ 0 w 1259586"/>
                    <a:gd name="connsiteY1" fmla="*/ 629888 h 1259586"/>
                    <a:gd name="connsiteX2" fmla="*/ 629698 w 1259586"/>
                    <a:gd name="connsiteY2" fmla="*/ 0 h 1259586"/>
                    <a:gd name="connsiteX3" fmla="*/ 1259586 w 1259586"/>
                    <a:gd name="connsiteY3" fmla="*/ 629698 h 1259586"/>
                    <a:gd name="connsiteX4" fmla="*/ 1259586 w 1259586"/>
                    <a:gd name="connsiteY4" fmla="*/ 629888 h 1259586"/>
                    <a:gd name="connsiteX5" fmla="*/ 629888 w 1259586"/>
                    <a:gd name="connsiteY5" fmla="*/ 1259586 h 12595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59586" h="1259586">
                      <a:moveTo>
                        <a:pt x="629888" y="1259586"/>
                      </a:moveTo>
                      <a:cubicBezTo>
                        <a:pt x="282063" y="1259639"/>
                        <a:pt x="53" y="977713"/>
                        <a:pt x="0" y="629888"/>
                      </a:cubicBezTo>
                      <a:cubicBezTo>
                        <a:pt x="-53" y="282063"/>
                        <a:pt x="281873" y="53"/>
                        <a:pt x="629698" y="0"/>
                      </a:cubicBezTo>
                      <a:cubicBezTo>
                        <a:pt x="977523" y="-53"/>
                        <a:pt x="1259533" y="281873"/>
                        <a:pt x="1259586" y="629698"/>
                      </a:cubicBezTo>
                      <a:cubicBezTo>
                        <a:pt x="1259586" y="629761"/>
                        <a:pt x="1259586" y="629825"/>
                        <a:pt x="1259586" y="629888"/>
                      </a:cubicBezTo>
                      <a:cubicBezTo>
                        <a:pt x="1259166" y="977487"/>
                        <a:pt x="977487" y="1259166"/>
                        <a:pt x="629888" y="125958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7" name="Freeform 76">
                  <a:extLst>
                    <a:ext uri="{FF2B5EF4-FFF2-40B4-BE49-F238E27FC236}">
                      <a16:creationId xmlns:a16="http://schemas.microsoft.com/office/drawing/2014/main" id="{3C7B1F03-0847-284C-8038-61E86258F66D}"/>
                    </a:ext>
                  </a:extLst>
                </p:cNvPr>
                <p:cNvSpPr/>
                <p:nvPr/>
              </p:nvSpPr>
              <p:spPr>
                <a:xfrm>
                  <a:off x="1496950" y="4780462"/>
                  <a:ext cx="419100" cy="419100"/>
                </a:xfrm>
                <a:custGeom>
                  <a:avLst/>
                  <a:gdLst>
                    <a:gd name="connsiteX0" fmla="*/ 419100 w 419100"/>
                    <a:gd name="connsiteY0" fmla="*/ 209550 h 419100"/>
                    <a:gd name="connsiteX1" fmla="*/ 209550 w 419100"/>
                    <a:gd name="connsiteY1" fmla="*/ 419100 h 419100"/>
                    <a:gd name="connsiteX2" fmla="*/ 0 w 419100"/>
                    <a:gd name="connsiteY2" fmla="*/ 209550 h 419100"/>
                    <a:gd name="connsiteX3" fmla="*/ 209550 w 419100"/>
                    <a:gd name="connsiteY3" fmla="*/ 0 h 419100"/>
                    <a:gd name="connsiteX4" fmla="*/ 419100 w 419100"/>
                    <a:gd name="connsiteY4" fmla="*/ 209550 h 419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19100" h="419100">
                      <a:moveTo>
                        <a:pt x="419100" y="209550"/>
                      </a:moveTo>
                      <a:cubicBezTo>
                        <a:pt x="419100" y="325281"/>
                        <a:pt x="325281" y="419100"/>
                        <a:pt x="209550" y="419100"/>
                      </a:cubicBezTo>
                      <a:cubicBezTo>
                        <a:pt x="93819" y="419100"/>
                        <a:pt x="0" y="325281"/>
                        <a:pt x="0" y="209550"/>
                      </a:cubicBezTo>
                      <a:cubicBezTo>
                        <a:pt x="0" y="93819"/>
                        <a:pt x="93819" y="0"/>
                        <a:pt x="209550" y="0"/>
                      </a:cubicBezTo>
                      <a:cubicBezTo>
                        <a:pt x="325281" y="0"/>
                        <a:pt x="419100" y="93819"/>
                        <a:pt x="419100" y="209550"/>
                      </a:cubicBezTo>
                      <a:close/>
                    </a:path>
                  </a:pathLst>
                </a:custGeom>
                <a:noFill/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8" name="Freeform 77">
                  <a:extLst>
                    <a:ext uri="{FF2B5EF4-FFF2-40B4-BE49-F238E27FC236}">
                      <a16:creationId xmlns:a16="http://schemas.microsoft.com/office/drawing/2014/main" id="{898ADD1A-0871-C247-897C-C9D04921870D}"/>
                    </a:ext>
                  </a:extLst>
                </p:cNvPr>
                <p:cNvSpPr/>
                <p:nvPr/>
              </p:nvSpPr>
              <p:spPr>
                <a:xfrm>
                  <a:off x="1496950" y="4779799"/>
                  <a:ext cx="419100" cy="545302"/>
                </a:xfrm>
                <a:custGeom>
                  <a:avLst/>
                  <a:gdLst>
                    <a:gd name="connsiteX0" fmla="*/ 419100 w 419100"/>
                    <a:gd name="connsiteY0" fmla="*/ 209928 h 545302"/>
                    <a:gd name="connsiteX1" fmla="*/ 209928 w 419100"/>
                    <a:gd name="connsiteY1" fmla="*/ 0 h 545302"/>
                    <a:gd name="connsiteX2" fmla="*/ 0 w 419100"/>
                    <a:gd name="connsiteY2" fmla="*/ 209173 h 545302"/>
                    <a:gd name="connsiteX3" fmla="*/ 57150 w 419100"/>
                    <a:gd name="connsiteY3" fmla="*/ 353374 h 545302"/>
                    <a:gd name="connsiteX4" fmla="*/ 126111 w 419100"/>
                    <a:gd name="connsiteY4" fmla="*/ 532254 h 545302"/>
                    <a:gd name="connsiteX5" fmla="*/ 126111 w 419100"/>
                    <a:gd name="connsiteY5" fmla="*/ 532254 h 545302"/>
                    <a:gd name="connsiteX6" fmla="*/ 139160 w 419100"/>
                    <a:gd name="connsiteY6" fmla="*/ 545303 h 545302"/>
                    <a:gd name="connsiteX7" fmla="*/ 280320 w 419100"/>
                    <a:gd name="connsiteY7" fmla="*/ 545303 h 545302"/>
                    <a:gd name="connsiteX8" fmla="*/ 293370 w 419100"/>
                    <a:gd name="connsiteY8" fmla="*/ 532254 h 545302"/>
                    <a:gd name="connsiteX9" fmla="*/ 293370 w 419100"/>
                    <a:gd name="connsiteY9" fmla="*/ 532254 h 545302"/>
                    <a:gd name="connsiteX10" fmla="*/ 365664 w 419100"/>
                    <a:gd name="connsiteY10" fmla="*/ 349659 h 545302"/>
                    <a:gd name="connsiteX11" fmla="*/ 419100 w 419100"/>
                    <a:gd name="connsiteY11" fmla="*/ 209928 h 5453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19100" h="545302">
                      <a:moveTo>
                        <a:pt x="419100" y="209928"/>
                      </a:moveTo>
                      <a:cubicBezTo>
                        <a:pt x="419308" y="94196"/>
                        <a:pt x="325659" y="209"/>
                        <a:pt x="209928" y="0"/>
                      </a:cubicBezTo>
                      <a:cubicBezTo>
                        <a:pt x="94196" y="-208"/>
                        <a:pt x="209" y="93441"/>
                        <a:pt x="0" y="209173"/>
                      </a:cubicBezTo>
                      <a:cubicBezTo>
                        <a:pt x="-96" y="262780"/>
                        <a:pt x="20356" y="314386"/>
                        <a:pt x="57150" y="353374"/>
                      </a:cubicBezTo>
                      <a:cubicBezTo>
                        <a:pt x="102039" y="402067"/>
                        <a:pt x="126697" y="466029"/>
                        <a:pt x="126111" y="532254"/>
                      </a:cubicBezTo>
                      <a:lnTo>
                        <a:pt x="126111" y="532254"/>
                      </a:lnTo>
                      <a:cubicBezTo>
                        <a:pt x="126111" y="539460"/>
                        <a:pt x="131953" y="545303"/>
                        <a:pt x="139160" y="545303"/>
                      </a:cubicBezTo>
                      <a:lnTo>
                        <a:pt x="280320" y="545303"/>
                      </a:lnTo>
                      <a:cubicBezTo>
                        <a:pt x="287527" y="545303"/>
                        <a:pt x="293370" y="539460"/>
                        <a:pt x="293370" y="532254"/>
                      </a:cubicBezTo>
                      <a:lnTo>
                        <a:pt x="293370" y="532254"/>
                      </a:lnTo>
                      <a:cubicBezTo>
                        <a:pt x="294136" y="464558"/>
                        <a:pt x="319882" y="399532"/>
                        <a:pt x="365664" y="349659"/>
                      </a:cubicBezTo>
                      <a:cubicBezTo>
                        <a:pt x="400148" y="311296"/>
                        <a:pt x="419186" y="261511"/>
                        <a:pt x="419100" y="209928"/>
                      </a:cubicBezTo>
                      <a:close/>
                    </a:path>
                  </a:pathLst>
                </a:custGeom>
                <a:noFill/>
                <a:ln w="41910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79" name="Freeform 78">
                  <a:extLst>
                    <a:ext uri="{FF2B5EF4-FFF2-40B4-BE49-F238E27FC236}">
                      <a16:creationId xmlns:a16="http://schemas.microsoft.com/office/drawing/2014/main" id="{2C03F8B3-D434-EE41-8451-457EC74220DB}"/>
                    </a:ext>
                  </a:extLst>
                </p:cNvPr>
                <p:cNvSpPr/>
                <p:nvPr/>
              </p:nvSpPr>
              <p:spPr>
                <a:xfrm>
                  <a:off x="1684497" y="4971820"/>
                  <a:ext cx="44005" cy="80771"/>
                </a:xfrm>
                <a:custGeom>
                  <a:avLst/>
                  <a:gdLst>
                    <a:gd name="connsiteX0" fmla="*/ 44006 w 44005"/>
                    <a:gd name="connsiteY0" fmla="*/ 40386 h 80771"/>
                    <a:gd name="connsiteX1" fmla="*/ 22003 w 44005"/>
                    <a:gd name="connsiteY1" fmla="*/ 80772 h 80771"/>
                    <a:gd name="connsiteX2" fmla="*/ 0 w 44005"/>
                    <a:gd name="connsiteY2" fmla="*/ 40386 h 80771"/>
                    <a:gd name="connsiteX3" fmla="*/ 22003 w 44005"/>
                    <a:gd name="connsiteY3" fmla="*/ 0 h 80771"/>
                    <a:gd name="connsiteX4" fmla="*/ 44006 w 44005"/>
                    <a:gd name="connsiteY4" fmla="*/ 40386 h 80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4005" h="80771">
                      <a:moveTo>
                        <a:pt x="44006" y="40386"/>
                      </a:moveTo>
                      <a:cubicBezTo>
                        <a:pt x="44006" y="62691"/>
                        <a:pt x="34155" y="80772"/>
                        <a:pt x="22003" y="80772"/>
                      </a:cubicBezTo>
                      <a:cubicBezTo>
                        <a:pt x="9851" y="80772"/>
                        <a:pt x="0" y="62691"/>
                        <a:pt x="0" y="40386"/>
                      </a:cubicBezTo>
                      <a:cubicBezTo>
                        <a:pt x="0" y="18081"/>
                        <a:pt x="9851" y="0"/>
                        <a:pt x="22003" y="0"/>
                      </a:cubicBezTo>
                      <a:cubicBezTo>
                        <a:pt x="34155" y="0"/>
                        <a:pt x="44006" y="18081"/>
                        <a:pt x="44006" y="40386"/>
                      </a:cubicBezTo>
                      <a:close/>
                    </a:path>
                  </a:pathLst>
                </a:custGeom>
                <a:noFill/>
                <a:ln w="25146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0" name="Freeform 79">
                  <a:extLst>
                    <a:ext uri="{FF2B5EF4-FFF2-40B4-BE49-F238E27FC236}">
                      <a16:creationId xmlns:a16="http://schemas.microsoft.com/office/drawing/2014/main" id="{75D88E5C-FE87-9F45-A205-2B71956B5277}"/>
                    </a:ext>
                  </a:extLst>
                </p:cNvPr>
                <p:cNvSpPr/>
                <p:nvPr/>
              </p:nvSpPr>
              <p:spPr>
                <a:xfrm rot="-2700000">
                  <a:off x="1603750" y="5026298"/>
                  <a:ext cx="34861" cy="63817"/>
                </a:xfrm>
                <a:custGeom>
                  <a:avLst/>
                  <a:gdLst>
                    <a:gd name="connsiteX0" fmla="*/ 34861 w 34861"/>
                    <a:gd name="connsiteY0" fmla="*/ 31909 h 63817"/>
                    <a:gd name="connsiteX1" fmla="*/ 17431 w 34861"/>
                    <a:gd name="connsiteY1" fmla="*/ 63818 h 63817"/>
                    <a:gd name="connsiteX2" fmla="*/ 0 w 34861"/>
                    <a:gd name="connsiteY2" fmla="*/ 31909 h 63817"/>
                    <a:gd name="connsiteX3" fmla="*/ 17431 w 34861"/>
                    <a:gd name="connsiteY3" fmla="*/ 0 h 63817"/>
                    <a:gd name="connsiteX4" fmla="*/ 34861 w 34861"/>
                    <a:gd name="connsiteY4" fmla="*/ 31909 h 638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861" h="63817">
                      <a:moveTo>
                        <a:pt x="34861" y="31909"/>
                      </a:moveTo>
                      <a:cubicBezTo>
                        <a:pt x="34861" y="49531"/>
                        <a:pt x="27057" y="63818"/>
                        <a:pt x="17431" y="63818"/>
                      </a:cubicBezTo>
                      <a:cubicBezTo>
                        <a:pt x="7804" y="63818"/>
                        <a:pt x="0" y="49531"/>
                        <a:pt x="0" y="31909"/>
                      </a:cubicBezTo>
                      <a:cubicBezTo>
                        <a:pt x="0" y="14286"/>
                        <a:pt x="7804" y="0"/>
                        <a:pt x="17431" y="0"/>
                      </a:cubicBezTo>
                      <a:cubicBezTo>
                        <a:pt x="27057" y="0"/>
                        <a:pt x="34861" y="14286"/>
                        <a:pt x="34861" y="31909"/>
                      </a:cubicBezTo>
                      <a:close/>
                    </a:path>
                  </a:pathLst>
                </a:custGeom>
                <a:noFill/>
                <a:ln w="25146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1" name="Freeform 80">
                  <a:extLst>
                    <a:ext uri="{FF2B5EF4-FFF2-40B4-BE49-F238E27FC236}">
                      <a16:creationId xmlns:a16="http://schemas.microsoft.com/office/drawing/2014/main" id="{49C2EFF1-13CB-D846-A449-64A684920C89}"/>
                    </a:ext>
                  </a:extLst>
                </p:cNvPr>
                <p:cNvSpPr/>
                <p:nvPr/>
              </p:nvSpPr>
              <p:spPr>
                <a:xfrm>
                  <a:off x="1643921" y="5060593"/>
                  <a:ext cx="29735" cy="248983"/>
                </a:xfrm>
                <a:custGeom>
                  <a:avLst/>
                  <a:gdLst>
                    <a:gd name="connsiteX0" fmla="*/ 26098 w 29735"/>
                    <a:gd name="connsiteY0" fmla="*/ 248984 h 248983"/>
                    <a:gd name="connsiteX1" fmla="*/ 0 w 29735"/>
                    <a:gd name="connsiteY1" fmla="*/ 0 h 248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735" h="248983">
                      <a:moveTo>
                        <a:pt x="26098" y="248984"/>
                      </a:moveTo>
                      <a:cubicBezTo>
                        <a:pt x="26098" y="248984"/>
                        <a:pt x="44101" y="69056"/>
                        <a:pt x="0" y="0"/>
                      </a:cubicBezTo>
                    </a:path>
                  </a:pathLst>
                </a:custGeom>
                <a:noFill/>
                <a:ln w="25146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2" name="Freeform 81">
                  <a:extLst>
                    <a:ext uri="{FF2B5EF4-FFF2-40B4-BE49-F238E27FC236}">
                      <a16:creationId xmlns:a16="http://schemas.microsoft.com/office/drawing/2014/main" id="{69B1F01E-0C0D-1C4F-B919-FB87D7FF258E}"/>
                    </a:ext>
                  </a:extLst>
                </p:cNvPr>
                <p:cNvSpPr/>
                <p:nvPr/>
              </p:nvSpPr>
              <p:spPr>
                <a:xfrm>
                  <a:off x="1631634" y="5046877"/>
                  <a:ext cx="86487" cy="37842"/>
                </a:xfrm>
                <a:custGeom>
                  <a:avLst/>
                  <a:gdLst>
                    <a:gd name="connsiteX0" fmla="*/ 0 w 86487"/>
                    <a:gd name="connsiteY0" fmla="*/ 36671 h 37842"/>
                    <a:gd name="connsiteX1" fmla="*/ 86487 w 86487"/>
                    <a:gd name="connsiteY1" fmla="*/ 0 h 378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6487" h="37842">
                      <a:moveTo>
                        <a:pt x="0" y="36671"/>
                      </a:moveTo>
                      <a:cubicBezTo>
                        <a:pt x="33493" y="42190"/>
                        <a:pt x="67168" y="27911"/>
                        <a:pt x="86487" y="0"/>
                      </a:cubicBezTo>
                    </a:path>
                  </a:pathLst>
                </a:custGeom>
                <a:noFill/>
                <a:ln w="25146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3" name="Freeform 82">
                  <a:extLst>
                    <a:ext uri="{FF2B5EF4-FFF2-40B4-BE49-F238E27FC236}">
                      <a16:creationId xmlns:a16="http://schemas.microsoft.com/office/drawing/2014/main" id="{DB41B9EC-41CF-ED41-9EB1-94A23E74CEF1}"/>
                    </a:ext>
                  </a:extLst>
                </p:cNvPr>
                <p:cNvSpPr/>
                <p:nvPr/>
              </p:nvSpPr>
              <p:spPr>
                <a:xfrm>
                  <a:off x="1684497" y="4971820"/>
                  <a:ext cx="44005" cy="80771"/>
                </a:xfrm>
                <a:custGeom>
                  <a:avLst/>
                  <a:gdLst>
                    <a:gd name="connsiteX0" fmla="*/ 44006 w 44005"/>
                    <a:gd name="connsiteY0" fmla="*/ 40386 h 80771"/>
                    <a:gd name="connsiteX1" fmla="*/ 22003 w 44005"/>
                    <a:gd name="connsiteY1" fmla="*/ 80772 h 80771"/>
                    <a:gd name="connsiteX2" fmla="*/ 0 w 44005"/>
                    <a:gd name="connsiteY2" fmla="*/ 40386 h 80771"/>
                    <a:gd name="connsiteX3" fmla="*/ 22003 w 44005"/>
                    <a:gd name="connsiteY3" fmla="*/ 0 h 80771"/>
                    <a:gd name="connsiteX4" fmla="*/ 44006 w 44005"/>
                    <a:gd name="connsiteY4" fmla="*/ 40386 h 807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4005" h="80771">
                      <a:moveTo>
                        <a:pt x="44006" y="40386"/>
                      </a:moveTo>
                      <a:cubicBezTo>
                        <a:pt x="44006" y="62691"/>
                        <a:pt x="34155" y="80772"/>
                        <a:pt x="22003" y="80772"/>
                      </a:cubicBezTo>
                      <a:cubicBezTo>
                        <a:pt x="9851" y="80772"/>
                        <a:pt x="0" y="62691"/>
                        <a:pt x="0" y="40386"/>
                      </a:cubicBezTo>
                      <a:cubicBezTo>
                        <a:pt x="0" y="18081"/>
                        <a:pt x="9851" y="0"/>
                        <a:pt x="22003" y="0"/>
                      </a:cubicBezTo>
                      <a:cubicBezTo>
                        <a:pt x="34155" y="0"/>
                        <a:pt x="44006" y="18081"/>
                        <a:pt x="44006" y="40386"/>
                      </a:cubicBezTo>
                      <a:close/>
                    </a:path>
                  </a:pathLst>
                </a:custGeom>
                <a:noFill/>
                <a:ln w="25146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4" name="Freeform 83">
                  <a:extLst>
                    <a:ext uri="{FF2B5EF4-FFF2-40B4-BE49-F238E27FC236}">
                      <a16:creationId xmlns:a16="http://schemas.microsoft.com/office/drawing/2014/main" id="{EC37AD25-8128-E742-9861-02D2A5995D96}"/>
                    </a:ext>
                  </a:extLst>
                </p:cNvPr>
                <p:cNvSpPr/>
                <p:nvPr/>
              </p:nvSpPr>
              <p:spPr>
                <a:xfrm rot="-2700000">
                  <a:off x="1759973" y="5040763"/>
                  <a:ext cx="63817" cy="34861"/>
                </a:xfrm>
                <a:custGeom>
                  <a:avLst/>
                  <a:gdLst>
                    <a:gd name="connsiteX0" fmla="*/ 63818 w 63817"/>
                    <a:gd name="connsiteY0" fmla="*/ 17431 h 34861"/>
                    <a:gd name="connsiteX1" fmla="*/ 31909 w 63817"/>
                    <a:gd name="connsiteY1" fmla="*/ 34862 h 34861"/>
                    <a:gd name="connsiteX2" fmla="*/ 0 w 63817"/>
                    <a:gd name="connsiteY2" fmla="*/ 17431 h 34861"/>
                    <a:gd name="connsiteX3" fmla="*/ 31909 w 63817"/>
                    <a:gd name="connsiteY3" fmla="*/ 0 h 34861"/>
                    <a:gd name="connsiteX4" fmla="*/ 63818 w 63817"/>
                    <a:gd name="connsiteY4" fmla="*/ 17431 h 348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3817" h="34861">
                      <a:moveTo>
                        <a:pt x="63818" y="17431"/>
                      </a:moveTo>
                      <a:cubicBezTo>
                        <a:pt x="63818" y="27058"/>
                        <a:pt x="49531" y="34862"/>
                        <a:pt x="31909" y="34862"/>
                      </a:cubicBezTo>
                      <a:cubicBezTo>
                        <a:pt x="14286" y="34862"/>
                        <a:pt x="0" y="27058"/>
                        <a:pt x="0" y="17431"/>
                      </a:cubicBezTo>
                      <a:cubicBezTo>
                        <a:pt x="0" y="7804"/>
                        <a:pt x="14286" y="0"/>
                        <a:pt x="31909" y="0"/>
                      </a:cubicBezTo>
                      <a:cubicBezTo>
                        <a:pt x="49531" y="0"/>
                        <a:pt x="63818" y="7804"/>
                        <a:pt x="63818" y="17431"/>
                      </a:cubicBezTo>
                      <a:close/>
                    </a:path>
                  </a:pathLst>
                </a:custGeom>
                <a:noFill/>
                <a:ln w="25146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5" name="Freeform 84">
                  <a:extLst>
                    <a:ext uri="{FF2B5EF4-FFF2-40B4-BE49-F238E27FC236}">
                      <a16:creationId xmlns:a16="http://schemas.microsoft.com/office/drawing/2014/main" id="{9EDA5C64-BADD-704A-A720-2157682EFC4A}"/>
                    </a:ext>
                  </a:extLst>
                </p:cNvPr>
                <p:cNvSpPr/>
                <p:nvPr/>
              </p:nvSpPr>
              <p:spPr>
                <a:xfrm>
                  <a:off x="1739312" y="5060593"/>
                  <a:ext cx="29767" cy="248983"/>
                </a:xfrm>
                <a:custGeom>
                  <a:avLst/>
                  <a:gdLst>
                    <a:gd name="connsiteX0" fmla="*/ 3669 w 29767"/>
                    <a:gd name="connsiteY0" fmla="*/ 248984 h 248983"/>
                    <a:gd name="connsiteX1" fmla="*/ 29767 w 29767"/>
                    <a:gd name="connsiteY1" fmla="*/ 0 h 2489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767" h="248983">
                      <a:moveTo>
                        <a:pt x="3669" y="248984"/>
                      </a:moveTo>
                      <a:cubicBezTo>
                        <a:pt x="3669" y="248984"/>
                        <a:pt x="-14429" y="69056"/>
                        <a:pt x="29767" y="0"/>
                      </a:cubicBezTo>
                    </a:path>
                  </a:pathLst>
                </a:custGeom>
                <a:noFill/>
                <a:ln w="25146" cap="flat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6" name="Freeform 85">
                  <a:extLst>
                    <a:ext uri="{FF2B5EF4-FFF2-40B4-BE49-F238E27FC236}">
                      <a16:creationId xmlns:a16="http://schemas.microsoft.com/office/drawing/2014/main" id="{AEA5653C-9489-A941-8F05-01BB310352F6}"/>
                    </a:ext>
                  </a:extLst>
                </p:cNvPr>
                <p:cNvSpPr/>
                <p:nvPr/>
              </p:nvSpPr>
              <p:spPr>
                <a:xfrm>
                  <a:off x="1694880" y="5046877"/>
                  <a:ext cx="86487" cy="37850"/>
                </a:xfrm>
                <a:custGeom>
                  <a:avLst/>
                  <a:gdLst>
                    <a:gd name="connsiteX0" fmla="*/ 86487 w 86487"/>
                    <a:gd name="connsiteY0" fmla="*/ 36671 h 37850"/>
                    <a:gd name="connsiteX1" fmla="*/ 0 w 86487"/>
                    <a:gd name="connsiteY1" fmla="*/ 0 h 378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86487" h="37850">
                      <a:moveTo>
                        <a:pt x="86487" y="36671"/>
                      </a:moveTo>
                      <a:cubicBezTo>
                        <a:pt x="52991" y="42214"/>
                        <a:pt x="19304" y="27930"/>
                        <a:pt x="0" y="0"/>
                      </a:cubicBezTo>
                    </a:path>
                  </a:pathLst>
                </a:custGeom>
                <a:noFill/>
                <a:ln w="25146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7" name="Freeform 86">
                  <a:extLst>
                    <a:ext uri="{FF2B5EF4-FFF2-40B4-BE49-F238E27FC236}">
                      <a16:creationId xmlns:a16="http://schemas.microsoft.com/office/drawing/2014/main" id="{F170C3BF-4B5E-1F44-8E6D-A91853469421}"/>
                    </a:ext>
                  </a:extLst>
                </p:cNvPr>
                <p:cNvSpPr/>
                <p:nvPr/>
              </p:nvSpPr>
              <p:spPr>
                <a:xfrm>
                  <a:off x="1643921" y="5383776"/>
                  <a:ext cx="125158" cy="9525"/>
                </a:xfrm>
                <a:custGeom>
                  <a:avLst/>
                  <a:gdLst>
                    <a:gd name="connsiteX0" fmla="*/ 0 w 125158"/>
                    <a:gd name="connsiteY0" fmla="*/ 0 h 9525"/>
                    <a:gd name="connsiteX1" fmla="*/ 125159 w 125158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25158" h="9525">
                      <a:moveTo>
                        <a:pt x="0" y="0"/>
                      </a:moveTo>
                      <a:lnTo>
                        <a:pt x="125159" y="0"/>
                      </a:lnTo>
                    </a:path>
                  </a:pathLst>
                </a:custGeom>
                <a:ln w="41910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8" name="Freeform 87">
                  <a:extLst>
                    <a:ext uri="{FF2B5EF4-FFF2-40B4-BE49-F238E27FC236}">
                      <a16:creationId xmlns:a16="http://schemas.microsoft.com/office/drawing/2014/main" id="{060FC44A-078B-B741-845F-D08943802072}"/>
                    </a:ext>
                  </a:extLst>
                </p:cNvPr>
                <p:cNvSpPr/>
                <p:nvPr/>
              </p:nvSpPr>
              <p:spPr>
                <a:xfrm>
                  <a:off x="1660875" y="5435592"/>
                  <a:ext cx="91249" cy="9525"/>
                </a:xfrm>
                <a:custGeom>
                  <a:avLst/>
                  <a:gdLst>
                    <a:gd name="connsiteX0" fmla="*/ 0 w 91249"/>
                    <a:gd name="connsiteY0" fmla="*/ 0 h 9525"/>
                    <a:gd name="connsiteX1" fmla="*/ 91250 w 91249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1249" h="9525">
                      <a:moveTo>
                        <a:pt x="0" y="0"/>
                      </a:moveTo>
                      <a:lnTo>
                        <a:pt x="91250" y="0"/>
                      </a:lnTo>
                    </a:path>
                  </a:pathLst>
                </a:custGeom>
                <a:ln w="41910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89" name="Freeform 88">
                  <a:extLst>
                    <a:ext uri="{FF2B5EF4-FFF2-40B4-BE49-F238E27FC236}">
                      <a16:creationId xmlns:a16="http://schemas.microsoft.com/office/drawing/2014/main" id="{519EB6DD-3D13-0F4F-B21D-90A7419B6E39}"/>
                    </a:ext>
                  </a:extLst>
                </p:cNvPr>
                <p:cNvSpPr/>
                <p:nvPr/>
              </p:nvSpPr>
              <p:spPr>
                <a:xfrm>
                  <a:off x="1706500" y="4652923"/>
                  <a:ext cx="9525" cy="46863"/>
                </a:xfrm>
                <a:custGeom>
                  <a:avLst/>
                  <a:gdLst>
                    <a:gd name="connsiteX0" fmla="*/ 0 w 9525"/>
                    <a:gd name="connsiteY0" fmla="*/ 46863 h 46863"/>
                    <a:gd name="connsiteX1" fmla="*/ 0 w 9525"/>
                    <a:gd name="connsiteY1" fmla="*/ 0 h 468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46863">
                      <a:moveTo>
                        <a:pt x="0" y="46863"/>
                      </a:moveTo>
                      <a:lnTo>
                        <a:pt x="0" y="0"/>
                      </a:lnTo>
                    </a:path>
                  </a:pathLst>
                </a:custGeom>
                <a:ln w="26384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0" name="Freeform 89">
                  <a:extLst>
                    <a:ext uri="{FF2B5EF4-FFF2-40B4-BE49-F238E27FC236}">
                      <a16:creationId xmlns:a16="http://schemas.microsoft.com/office/drawing/2014/main" id="{5722C317-4BC5-BB48-9424-BE1F735F248B}"/>
                    </a:ext>
                  </a:extLst>
                </p:cNvPr>
                <p:cNvSpPr/>
                <p:nvPr/>
              </p:nvSpPr>
              <p:spPr>
                <a:xfrm>
                  <a:off x="1851566" y="4698071"/>
                  <a:ext cx="23526" cy="40576"/>
                </a:xfrm>
                <a:custGeom>
                  <a:avLst/>
                  <a:gdLst>
                    <a:gd name="connsiteX0" fmla="*/ 0 w 23526"/>
                    <a:gd name="connsiteY0" fmla="*/ 40576 h 40576"/>
                    <a:gd name="connsiteX1" fmla="*/ 23527 w 23526"/>
                    <a:gd name="connsiteY1" fmla="*/ 0 h 40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526" h="40576">
                      <a:moveTo>
                        <a:pt x="0" y="40576"/>
                      </a:moveTo>
                      <a:lnTo>
                        <a:pt x="23527" y="0"/>
                      </a:lnTo>
                    </a:path>
                  </a:pathLst>
                </a:custGeom>
                <a:ln w="26384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1" name="Freeform 90">
                  <a:extLst>
                    <a:ext uri="{FF2B5EF4-FFF2-40B4-BE49-F238E27FC236}">
                      <a16:creationId xmlns:a16="http://schemas.microsoft.com/office/drawing/2014/main" id="{0740C6C4-A7AB-B148-A5A8-83EA52EBA722}"/>
                    </a:ext>
                  </a:extLst>
                </p:cNvPr>
                <p:cNvSpPr/>
                <p:nvPr/>
              </p:nvSpPr>
              <p:spPr>
                <a:xfrm>
                  <a:off x="1957865" y="4821420"/>
                  <a:ext cx="40576" cy="23526"/>
                </a:xfrm>
                <a:custGeom>
                  <a:avLst/>
                  <a:gdLst>
                    <a:gd name="connsiteX0" fmla="*/ 0 w 40576"/>
                    <a:gd name="connsiteY0" fmla="*/ 23527 h 23526"/>
                    <a:gd name="connsiteX1" fmla="*/ 40576 w 40576"/>
                    <a:gd name="connsiteY1" fmla="*/ 0 h 2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576" h="23526">
                      <a:moveTo>
                        <a:pt x="0" y="23527"/>
                      </a:moveTo>
                      <a:lnTo>
                        <a:pt x="40576" y="0"/>
                      </a:lnTo>
                    </a:path>
                  </a:pathLst>
                </a:custGeom>
                <a:ln w="26384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2" name="Freeform 91">
                  <a:extLst>
                    <a:ext uri="{FF2B5EF4-FFF2-40B4-BE49-F238E27FC236}">
                      <a16:creationId xmlns:a16="http://schemas.microsoft.com/office/drawing/2014/main" id="{9F734772-9F18-3944-9E5B-0094E7D7D748}"/>
                    </a:ext>
                  </a:extLst>
                </p:cNvPr>
                <p:cNvSpPr/>
                <p:nvPr/>
              </p:nvSpPr>
              <p:spPr>
                <a:xfrm>
                  <a:off x="1996727" y="4990012"/>
                  <a:ext cx="46863" cy="9525"/>
                </a:xfrm>
                <a:custGeom>
                  <a:avLst/>
                  <a:gdLst>
                    <a:gd name="connsiteX0" fmla="*/ 0 w 46863"/>
                    <a:gd name="connsiteY0" fmla="*/ 0 h 9525"/>
                    <a:gd name="connsiteX1" fmla="*/ 46863 w 46863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6863" h="9525">
                      <a:moveTo>
                        <a:pt x="0" y="0"/>
                      </a:moveTo>
                      <a:lnTo>
                        <a:pt x="46863" y="0"/>
                      </a:lnTo>
                    </a:path>
                  </a:pathLst>
                </a:custGeom>
                <a:ln w="26384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3" name="Freeform 92">
                  <a:extLst>
                    <a:ext uri="{FF2B5EF4-FFF2-40B4-BE49-F238E27FC236}">
                      <a16:creationId xmlns:a16="http://schemas.microsoft.com/office/drawing/2014/main" id="{6560B934-4A63-C04A-B8BE-52C413B02308}"/>
                    </a:ext>
                  </a:extLst>
                </p:cNvPr>
                <p:cNvSpPr/>
                <p:nvPr/>
              </p:nvSpPr>
              <p:spPr>
                <a:xfrm>
                  <a:off x="1957865" y="5135078"/>
                  <a:ext cx="40576" cy="23526"/>
                </a:xfrm>
                <a:custGeom>
                  <a:avLst/>
                  <a:gdLst>
                    <a:gd name="connsiteX0" fmla="*/ 0 w 40576"/>
                    <a:gd name="connsiteY0" fmla="*/ 0 h 23526"/>
                    <a:gd name="connsiteX1" fmla="*/ 40576 w 40576"/>
                    <a:gd name="connsiteY1" fmla="*/ 23527 h 2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576" h="23526">
                      <a:moveTo>
                        <a:pt x="0" y="0"/>
                      </a:moveTo>
                      <a:lnTo>
                        <a:pt x="40576" y="23527"/>
                      </a:lnTo>
                    </a:path>
                  </a:pathLst>
                </a:custGeom>
                <a:ln w="26384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4" name="Freeform 93">
                  <a:extLst>
                    <a:ext uri="{FF2B5EF4-FFF2-40B4-BE49-F238E27FC236}">
                      <a16:creationId xmlns:a16="http://schemas.microsoft.com/office/drawing/2014/main" id="{67D6DD9A-326F-194D-8A6E-06E0429C6F34}"/>
                    </a:ext>
                  </a:extLst>
                </p:cNvPr>
                <p:cNvSpPr/>
                <p:nvPr/>
              </p:nvSpPr>
              <p:spPr>
                <a:xfrm>
                  <a:off x="1537908" y="4698071"/>
                  <a:ext cx="23431" cy="40576"/>
                </a:xfrm>
                <a:custGeom>
                  <a:avLst/>
                  <a:gdLst>
                    <a:gd name="connsiteX0" fmla="*/ 23431 w 23431"/>
                    <a:gd name="connsiteY0" fmla="*/ 40576 h 40576"/>
                    <a:gd name="connsiteX1" fmla="*/ 0 w 23431"/>
                    <a:gd name="connsiteY1" fmla="*/ 0 h 405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3431" h="40576">
                      <a:moveTo>
                        <a:pt x="23431" y="40576"/>
                      </a:moveTo>
                      <a:lnTo>
                        <a:pt x="0" y="0"/>
                      </a:lnTo>
                    </a:path>
                  </a:pathLst>
                </a:custGeom>
                <a:ln w="26384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5" name="Freeform 94">
                  <a:extLst>
                    <a:ext uri="{FF2B5EF4-FFF2-40B4-BE49-F238E27FC236}">
                      <a16:creationId xmlns:a16="http://schemas.microsoft.com/office/drawing/2014/main" id="{85C8A827-EC14-0F48-BEC5-26D0CCC26DE8}"/>
                    </a:ext>
                  </a:extLst>
                </p:cNvPr>
                <p:cNvSpPr/>
                <p:nvPr/>
              </p:nvSpPr>
              <p:spPr>
                <a:xfrm>
                  <a:off x="1414559" y="4821420"/>
                  <a:ext cx="40576" cy="23526"/>
                </a:xfrm>
                <a:custGeom>
                  <a:avLst/>
                  <a:gdLst>
                    <a:gd name="connsiteX0" fmla="*/ 40576 w 40576"/>
                    <a:gd name="connsiteY0" fmla="*/ 23527 h 23526"/>
                    <a:gd name="connsiteX1" fmla="*/ 0 w 40576"/>
                    <a:gd name="connsiteY1" fmla="*/ 0 h 2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576" h="23526">
                      <a:moveTo>
                        <a:pt x="40576" y="23527"/>
                      </a:moveTo>
                      <a:lnTo>
                        <a:pt x="0" y="0"/>
                      </a:lnTo>
                    </a:path>
                  </a:pathLst>
                </a:custGeom>
                <a:ln w="26384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6" name="Freeform 95">
                  <a:extLst>
                    <a:ext uri="{FF2B5EF4-FFF2-40B4-BE49-F238E27FC236}">
                      <a16:creationId xmlns:a16="http://schemas.microsoft.com/office/drawing/2014/main" id="{C52288BC-5B80-6B45-8DC2-B618BE3AEFD3}"/>
                    </a:ext>
                  </a:extLst>
                </p:cNvPr>
                <p:cNvSpPr/>
                <p:nvPr/>
              </p:nvSpPr>
              <p:spPr>
                <a:xfrm>
                  <a:off x="1369315" y="4990012"/>
                  <a:ext cx="46958" cy="9525"/>
                </a:xfrm>
                <a:custGeom>
                  <a:avLst/>
                  <a:gdLst>
                    <a:gd name="connsiteX0" fmla="*/ 46958 w 46958"/>
                    <a:gd name="connsiteY0" fmla="*/ 0 h 9525"/>
                    <a:gd name="connsiteX1" fmla="*/ 0 w 46958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6958" h="9525">
                      <a:moveTo>
                        <a:pt x="46958" y="0"/>
                      </a:moveTo>
                      <a:lnTo>
                        <a:pt x="0" y="0"/>
                      </a:lnTo>
                    </a:path>
                  </a:pathLst>
                </a:custGeom>
                <a:ln w="26384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97" name="Freeform 96">
                  <a:extLst>
                    <a:ext uri="{FF2B5EF4-FFF2-40B4-BE49-F238E27FC236}">
                      <a16:creationId xmlns:a16="http://schemas.microsoft.com/office/drawing/2014/main" id="{BEA2EBE2-D090-7142-920E-17AECFE4F076}"/>
                    </a:ext>
                  </a:extLst>
                </p:cNvPr>
                <p:cNvSpPr/>
                <p:nvPr/>
              </p:nvSpPr>
              <p:spPr>
                <a:xfrm>
                  <a:off x="1414559" y="5135078"/>
                  <a:ext cx="40576" cy="23526"/>
                </a:xfrm>
                <a:custGeom>
                  <a:avLst/>
                  <a:gdLst>
                    <a:gd name="connsiteX0" fmla="*/ 40576 w 40576"/>
                    <a:gd name="connsiteY0" fmla="*/ 0 h 23526"/>
                    <a:gd name="connsiteX1" fmla="*/ 0 w 40576"/>
                    <a:gd name="connsiteY1" fmla="*/ 23527 h 2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40576" h="23526">
                      <a:moveTo>
                        <a:pt x="40576" y="0"/>
                      </a:moveTo>
                      <a:lnTo>
                        <a:pt x="0" y="23527"/>
                      </a:lnTo>
                    </a:path>
                  </a:pathLst>
                </a:custGeom>
                <a:ln w="26384" cap="rnd">
                  <a:solidFill>
                    <a:srgbClr val="FFFFFF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123" name="Graphic 34">
            <a:extLst>
              <a:ext uri="{FF2B5EF4-FFF2-40B4-BE49-F238E27FC236}">
                <a16:creationId xmlns:a16="http://schemas.microsoft.com/office/drawing/2014/main" id="{269AA08A-33C9-894B-B705-D718A1DEA882}"/>
              </a:ext>
            </a:extLst>
          </p:cNvPr>
          <p:cNvGrpSpPr>
            <a:grpSpLocks noChangeAspect="1"/>
          </p:cNvGrpSpPr>
          <p:nvPr/>
        </p:nvGrpSpPr>
        <p:grpSpPr>
          <a:xfrm>
            <a:off x="1940444" y="1468919"/>
            <a:ext cx="1371600" cy="1371600"/>
            <a:chOff x="2667000" y="4114800"/>
            <a:chExt cx="1714500" cy="1714500"/>
          </a:xfrm>
        </p:grpSpPr>
        <p:sp>
          <p:nvSpPr>
            <p:cNvPr id="124" name="Freeform: Shape 538">
              <a:extLst>
                <a:ext uri="{FF2B5EF4-FFF2-40B4-BE49-F238E27FC236}">
                  <a16:creationId xmlns:a16="http://schemas.microsoft.com/office/drawing/2014/main" id="{1CBD49C7-9399-6649-9912-5FC65AC95A44}"/>
                </a:ext>
              </a:extLst>
            </p:cNvPr>
            <p:cNvSpPr/>
            <p:nvPr/>
          </p:nvSpPr>
          <p:spPr>
            <a:xfrm>
              <a:off x="2875407" y="4334923"/>
              <a:ext cx="1266825" cy="1266825"/>
            </a:xfrm>
            <a:custGeom>
              <a:avLst/>
              <a:gdLst>
                <a:gd name="connsiteX0" fmla="*/ 636841 w 1266825"/>
                <a:gd name="connsiteY0" fmla="*/ 1266539 h 1266825"/>
                <a:gd name="connsiteX1" fmla="*/ 7144 w 1266825"/>
                <a:gd name="connsiteY1" fmla="*/ 636841 h 1266825"/>
                <a:gd name="connsiteX2" fmla="*/ 636842 w 1266825"/>
                <a:gd name="connsiteY2" fmla="*/ 7144 h 1266825"/>
                <a:gd name="connsiteX3" fmla="*/ 1266539 w 1266825"/>
                <a:gd name="connsiteY3" fmla="*/ 636842 h 1266825"/>
                <a:gd name="connsiteX4" fmla="*/ 1266539 w 1266825"/>
                <a:gd name="connsiteY4" fmla="*/ 637127 h 1266825"/>
                <a:gd name="connsiteX5" fmla="*/ 636842 w 1266825"/>
                <a:gd name="connsiteY5" fmla="*/ 1266539 h 1266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66825" h="1266825">
                  <a:moveTo>
                    <a:pt x="636841" y="1266539"/>
                  </a:moveTo>
                  <a:cubicBezTo>
                    <a:pt x="289069" y="1266539"/>
                    <a:pt x="7144" y="984614"/>
                    <a:pt x="7144" y="636841"/>
                  </a:cubicBezTo>
                  <a:cubicBezTo>
                    <a:pt x="7144" y="289069"/>
                    <a:pt x="289069" y="7144"/>
                    <a:pt x="636842" y="7144"/>
                  </a:cubicBezTo>
                  <a:cubicBezTo>
                    <a:pt x="984614" y="7144"/>
                    <a:pt x="1266539" y="289069"/>
                    <a:pt x="1266539" y="636842"/>
                  </a:cubicBezTo>
                  <a:cubicBezTo>
                    <a:pt x="1266539" y="636937"/>
                    <a:pt x="1266539" y="637032"/>
                    <a:pt x="1266539" y="637127"/>
                  </a:cubicBezTo>
                  <a:cubicBezTo>
                    <a:pt x="1265962" y="984614"/>
                    <a:pt x="984329" y="1266120"/>
                    <a:pt x="636842" y="126653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5" name="Freeform: Shape 539">
              <a:extLst>
                <a:ext uri="{FF2B5EF4-FFF2-40B4-BE49-F238E27FC236}">
                  <a16:creationId xmlns:a16="http://schemas.microsoft.com/office/drawing/2014/main" id="{273D3E4B-7EC6-5B43-B235-E1069E2129CF}"/>
                </a:ext>
              </a:extLst>
            </p:cNvPr>
            <p:cNvSpPr/>
            <p:nvPr/>
          </p:nvSpPr>
          <p:spPr>
            <a:xfrm>
              <a:off x="3073458" y="4796297"/>
              <a:ext cx="581025" cy="581025"/>
            </a:xfrm>
            <a:custGeom>
              <a:avLst/>
              <a:gdLst>
                <a:gd name="connsiteX0" fmla="*/ 230764 w 581025"/>
                <a:gd name="connsiteY0" fmla="*/ 578851 h 581025"/>
                <a:gd name="connsiteX1" fmla="*/ 224859 w 581025"/>
                <a:gd name="connsiteY1" fmla="*/ 577898 h 581025"/>
                <a:gd name="connsiteX2" fmla="*/ 160184 w 581025"/>
                <a:gd name="connsiteY2" fmla="*/ 553610 h 581025"/>
                <a:gd name="connsiteX3" fmla="*/ 143420 w 581025"/>
                <a:gd name="connsiteY3" fmla="*/ 544085 h 581025"/>
                <a:gd name="connsiteX4" fmla="*/ 140753 w 581025"/>
                <a:gd name="connsiteY4" fmla="*/ 542465 h 581025"/>
                <a:gd name="connsiteX5" fmla="*/ 132181 w 581025"/>
                <a:gd name="connsiteY5" fmla="*/ 521510 h 581025"/>
                <a:gd name="connsiteX6" fmla="*/ 134848 w 581025"/>
                <a:gd name="connsiteY6" fmla="*/ 509414 h 581025"/>
                <a:gd name="connsiteX7" fmla="*/ 140467 w 581025"/>
                <a:gd name="connsiteY7" fmla="*/ 484744 h 581025"/>
                <a:gd name="connsiteX8" fmla="*/ 102367 w 581025"/>
                <a:gd name="connsiteY8" fmla="*/ 446644 h 581025"/>
                <a:gd name="connsiteX9" fmla="*/ 68363 w 581025"/>
                <a:gd name="connsiteY9" fmla="*/ 454645 h 581025"/>
                <a:gd name="connsiteX10" fmla="*/ 43483 w 581025"/>
                <a:gd name="connsiteY10" fmla="*/ 444310 h 581025"/>
                <a:gd name="connsiteX11" fmla="*/ 43312 w 581025"/>
                <a:gd name="connsiteY11" fmla="*/ 443882 h 581025"/>
                <a:gd name="connsiteX12" fmla="*/ 8451 w 581025"/>
                <a:gd name="connsiteY12" fmla="*/ 360347 h 581025"/>
                <a:gd name="connsiteX13" fmla="*/ 16833 w 581025"/>
                <a:gd name="connsiteY13" fmla="*/ 339678 h 581025"/>
                <a:gd name="connsiteX14" fmla="*/ 49027 w 581025"/>
                <a:gd name="connsiteY14" fmla="*/ 319676 h 581025"/>
                <a:gd name="connsiteX15" fmla="*/ 49027 w 581025"/>
                <a:gd name="connsiteY15" fmla="*/ 317771 h 581025"/>
                <a:gd name="connsiteX16" fmla="*/ 49027 w 581025"/>
                <a:gd name="connsiteY16" fmla="*/ 265955 h 581025"/>
                <a:gd name="connsiteX17" fmla="*/ 16547 w 581025"/>
                <a:gd name="connsiteY17" fmla="*/ 245571 h 581025"/>
                <a:gd name="connsiteX18" fmla="*/ 8260 w 581025"/>
                <a:gd name="connsiteY18" fmla="*/ 224045 h 581025"/>
                <a:gd name="connsiteX19" fmla="*/ 11975 w 581025"/>
                <a:gd name="connsiteY19" fmla="*/ 211472 h 581025"/>
                <a:gd name="connsiteX20" fmla="*/ 16738 w 581025"/>
                <a:gd name="connsiteY20" fmla="*/ 195470 h 581025"/>
                <a:gd name="connsiteX21" fmla="*/ 42931 w 581025"/>
                <a:gd name="connsiteY21" fmla="*/ 140225 h 581025"/>
                <a:gd name="connsiteX22" fmla="*/ 65887 w 581025"/>
                <a:gd name="connsiteY22" fmla="*/ 130700 h 581025"/>
                <a:gd name="connsiteX23" fmla="*/ 101415 w 581025"/>
                <a:gd name="connsiteY23" fmla="*/ 139177 h 581025"/>
                <a:gd name="connsiteX24" fmla="*/ 107130 w 581025"/>
                <a:gd name="connsiteY24" fmla="*/ 132700 h 581025"/>
                <a:gd name="connsiteX25" fmla="*/ 139229 w 581025"/>
                <a:gd name="connsiteY25" fmla="*/ 101744 h 581025"/>
                <a:gd name="connsiteX26" fmla="*/ 132181 w 581025"/>
                <a:gd name="connsiteY26" fmla="*/ 72216 h 581025"/>
                <a:gd name="connsiteX27" fmla="*/ 131038 w 581025"/>
                <a:gd name="connsiteY27" fmla="*/ 67073 h 581025"/>
                <a:gd name="connsiteX28" fmla="*/ 140563 w 581025"/>
                <a:gd name="connsiteY28" fmla="*/ 42689 h 581025"/>
                <a:gd name="connsiteX29" fmla="*/ 193617 w 581025"/>
                <a:gd name="connsiteY29" fmla="*/ 17828 h 581025"/>
                <a:gd name="connsiteX30" fmla="*/ 213905 w 581025"/>
                <a:gd name="connsiteY30" fmla="*/ 11542 h 581025"/>
                <a:gd name="connsiteX31" fmla="*/ 225526 w 581025"/>
                <a:gd name="connsiteY31" fmla="*/ 8113 h 581025"/>
                <a:gd name="connsiteX32" fmla="*/ 247052 w 581025"/>
                <a:gd name="connsiteY32" fmla="*/ 17162 h 581025"/>
                <a:gd name="connsiteX33" fmla="*/ 251053 w 581025"/>
                <a:gd name="connsiteY33" fmla="*/ 23543 h 581025"/>
                <a:gd name="connsiteX34" fmla="*/ 254005 w 581025"/>
                <a:gd name="connsiteY34" fmla="*/ 28306 h 581025"/>
                <a:gd name="connsiteX35" fmla="*/ 266959 w 581025"/>
                <a:gd name="connsiteY35" fmla="*/ 48689 h 581025"/>
                <a:gd name="connsiteX36" fmla="*/ 319918 w 581025"/>
                <a:gd name="connsiteY36" fmla="*/ 48689 h 581025"/>
                <a:gd name="connsiteX37" fmla="*/ 325443 w 581025"/>
                <a:gd name="connsiteY37" fmla="*/ 40022 h 581025"/>
                <a:gd name="connsiteX38" fmla="*/ 339540 w 581025"/>
                <a:gd name="connsiteY38" fmla="*/ 17733 h 581025"/>
                <a:gd name="connsiteX39" fmla="*/ 362876 w 581025"/>
                <a:gd name="connsiteY39" fmla="*/ 8208 h 581025"/>
                <a:gd name="connsiteX40" fmla="*/ 374020 w 581025"/>
                <a:gd name="connsiteY40" fmla="*/ 11637 h 581025"/>
                <a:gd name="connsiteX41" fmla="*/ 402595 w 581025"/>
                <a:gd name="connsiteY41" fmla="*/ 21162 h 581025"/>
                <a:gd name="connsiteX42" fmla="*/ 445934 w 581025"/>
                <a:gd name="connsiteY42" fmla="*/ 42689 h 581025"/>
                <a:gd name="connsiteX43" fmla="*/ 455459 w 581025"/>
                <a:gd name="connsiteY43" fmla="*/ 65263 h 581025"/>
                <a:gd name="connsiteX44" fmla="*/ 450030 w 581025"/>
                <a:gd name="connsiteY44" fmla="*/ 88885 h 581025"/>
                <a:gd name="connsiteX45" fmla="*/ 447268 w 581025"/>
                <a:gd name="connsiteY45" fmla="*/ 101172 h 581025"/>
                <a:gd name="connsiteX46" fmla="*/ 485368 w 581025"/>
                <a:gd name="connsiteY46" fmla="*/ 139272 h 581025"/>
                <a:gd name="connsiteX47" fmla="*/ 536517 w 581025"/>
                <a:gd name="connsiteY47" fmla="*/ 127366 h 581025"/>
                <a:gd name="connsiteX48" fmla="*/ 542518 w 581025"/>
                <a:gd name="connsiteY48" fmla="*/ 137653 h 581025"/>
                <a:gd name="connsiteX49" fmla="*/ 544613 w 581025"/>
                <a:gd name="connsiteY49" fmla="*/ 141368 h 581025"/>
                <a:gd name="connsiteX50" fmla="*/ 552519 w 581025"/>
                <a:gd name="connsiteY50" fmla="*/ 156608 h 581025"/>
                <a:gd name="connsiteX51" fmla="*/ 558805 w 581025"/>
                <a:gd name="connsiteY51" fmla="*/ 168704 h 581025"/>
                <a:gd name="connsiteX52" fmla="*/ 578998 w 581025"/>
                <a:gd name="connsiteY52" fmla="*/ 225854 h 581025"/>
                <a:gd name="connsiteX53" fmla="*/ 569473 w 581025"/>
                <a:gd name="connsiteY53" fmla="*/ 246714 h 581025"/>
                <a:gd name="connsiteX54" fmla="*/ 557853 w 581025"/>
                <a:gd name="connsiteY54" fmla="*/ 254048 h 581025"/>
                <a:gd name="connsiteX55" fmla="*/ 538136 w 581025"/>
                <a:gd name="connsiteY55" fmla="*/ 266621 h 581025"/>
                <a:gd name="connsiteX56" fmla="*/ 538136 w 581025"/>
                <a:gd name="connsiteY56" fmla="*/ 319295 h 581025"/>
                <a:gd name="connsiteX57" fmla="*/ 580237 w 581025"/>
                <a:gd name="connsiteY57" fmla="*/ 344631 h 581025"/>
                <a:gd name="connsiteX58" fmla="*/ 580237 w 581025"/>
                <a:gd name="connsiteY58" fmla="*/ 357776 h 581025"/>
                <a:gd name="connsiteX59" fmla="*/ 578998 w 581025"/>
                <a:gd name="connsiteY59" fmla="*/ 360252 h 581025"/>
                <a:gd name="connsiteX60" fmla="*/ 543851 w 581025"/>
                <a:gd name="connsiteY60" fmla="*/ 445977 h 581025"/>
                <a:gd name="connsiteX61" fmla="*/ 522706 w 581025"/>
                <a:gd name="connsiteY61" fmla="*/ 454835 h 581025"/>
                <a:gd name="connsiteX62" fmla="*/ 506132 w 581025"/>
                <a:gd name="connsiteY62" fmla="*/ 451025 h 581025"/>
                <a:gd name="connsiteX63" fmla="*/ 485844 w 581025"/>
                <a:gd name="connsiteY63" fmla="*/ 446263 h 581025"/>
                <a:gd name="connsiteX64" fmla="*/ 447744 w 581025"/>
                <a:gd name="connsiteY64" fmla="*/ 484363 h 581025"/>
                <a:gd name="connsiteX65" fmla="*/ 450220 w 581025"/>
                <a:gd name="connsiteY65" fmla="*/ 494936 h 581025"/>
                <a:gd name="connsiteX66" fmla="*/ 456221 w 581025"/>
                <a:gd name="connsiteY66" fmla="*/ 519986 h 581025"/>
                <a:gd name="connsiteX67" fmla="*/ 456221 w 581025"/>
                <a:gd name="connsiteY67" fmla="*/ 533036 h 581025"/>
                <a:gd name="connsiteX68" fmla="*/ 446696 w 581025"/>
                <a:gd name="connsiteY68" fmla="*/ 543227 h 581025"/>
                <a:gd name="connsiteX69" fmla="*/ 435552 w 581025"/>
                <a:gd name="connsiteY69" fmla="*/ 549038 h 581025"/>
                <a:gd name="connsiteX70" fmla="*/ 411930 w 581025"/>
                <a:gd name="connsiteY70" fmla="*/ 560944 h 581025"/>
                <a:gd name="connsiteX71" fmla="*/ 363162 w 581025"/>
                <a:gd name="connsiteY71" fmla="*/ 577613 h 581025"/>
                <a:gd name="connsiteX72" fmla="*/ 340492 w 581025"/>
                <a:gd name="connsiteY72" fmla="*/ 568088 h 581025"/>
                <a:gd name="connsiteX73" fmla="*/ 336016 w 581025"/>
                <a:gd name="connsiteY73" fmla="*/ 560753 h 581025"/>
                <a:gd name="connsiteX74" fmla="*/ 321252 w 581025"/>
                <a:gd name="connsiteY74" fmla="*/ 537036 h 581025"/>
                <a:gd name="connsiteX75" fmla="*/ 305821 w 581025"/>
                <a:gd name="connsiteY75" fmla="*/ 538370 h 581025"/>
                <a:gd name="connsiteX76" fmla="*/ 267721 w 581025"/>
                <a:gd name="connsiteY76" fmla="*/ 537227 h 581025"/>
                <a:gd name="connsiteX77" fmla="*/ 265245 w 581025"/>
                <a:gd name="connsiteY77" fmla="*/ 541132 h 581025"/>
                <a:gd name="connsiteX78" fmla="*/ 247433 w 581025"/>
                <a:gd name="connsiteY78" fmla="*/ 568945 h 581025"/>
                <a:gd name="connsiteX79" fmla="*/ 230764 w 581025"/>
                <a:gd name="connsiteY79" fmla="*/ 578851 h 581025"/>
                <a:gd name="connsiteX80" fmla="*/ 161137 w 581025"/>
                <a:gd name="connsiteY80" fmla="*/ 521701 h 581025"/>
                <a:gd name="connsiteX81" fmla="*/ 173233 w 581025"/>
                <a:gd name="connsiteY81" fmla="*/ 528464 h 581025"/>
                <a:gd name="connsiteX82" fmla="*/ 226383 w 581025"/>
                <a:gd name="connsiteY82" fmla="*/ 549133 h 581025"/>
                <a:gd name="connsiteX83" fmla="*/ 241242 w 581025"/>
                <a:gd name="connsiteY83" fmla="*/ 525797 h 581025"/>
                <a:gd name="connsiteX84" fmla="*/ 243623 w 581025"/>
                <a:gd name="connsiteY84" fmla="*/ 521987 h 581025"/>
                <a:gd name="connsiteX85" fmla="*/ 247719 w 581025"/>
                <a:gd name="connsiteY85" fmla="*/ 515605 h 581025"/>
                <a:gd name="connsiteX86" fmla="*/ 262006 w 581025"/>
                <a:gd name="connsiteY86" fmla="*/ 508271 h 581025"/>
                <a:gd name="connsiteX87" fmla="*/ 263245 w 581025"/>
                <a:gd name="connsiteY87" fmla="*/ 508271 h 581025"/>
                <a:gd name="connsiteX88" fmla="*/ 264483 w 581025"/>
                <a:gd name="connsiteY88" fmla="*/ 508271 h 581025"/>
                <a:gd name="connsiteX89" fmla="*/ 303821 w 581025"/>
                <a:gd name="connsiteY89" fmla="*/ 510176 h 581025"/>
                <a:gd name="connsiteX90" fmla="*/ 320109 w 581025"/>
                <a:gd name="connsiteY90" fmla="*/ 508652 h 581025"/>
                <a:gd name="connsiteX91" fmla="*/ 323062 w 581025"/>
                <a:gd name="connsiteY91" fmla="*/ 508652 h 581025"/>
                <a:gd name="connsiteX92" fmla="*/ 342112 w 581025"/>
                <a:gd name="connsiteY92" fmla="*/ 518177 h 581025"/>
                <a:gd name="connsiteX93" fmla="*/ 359733 w 581025"/>
                <a:gd name="connsiteY93" fmla="*/ 546752 h 581025"/>
                <a:gd name="connsiteX94" fmla="*/ 361447 w 581025"/>
                <a:gd name="connsiteY94" fmla="*/ 549514 h 581025"/>
                <a:gd name="connsiteX95" fmla="*/ 399547 w 581025"/>
                <a:gd name="connsiteY95" fmla="*/ 535988 h 581025"/>
                <a:gd name="connsiteX96" fmla="*/ 421645 w 581025"/>
                <a:gd name="connsiteY96" fmla="*/ 524749 h 581025"/>
                <a:gd name="connsiteX97" fmla="*/ 427456 w 581025"/>
                <a:gd name="connsiteY97" fmla="*/ 521796 h 581025"/>
                <a:gd name="connsiteX98" fmla="*/ 422788 w 581025"/>
                <a:gd name="connsiteY98" fmla="*/ 502175 h 581025"/>
                <a:gd name="connsiteX99" fmla="*/ 418979 w 581025"/>
                <a:gd name="connsiteY99" fmla="*/ 486173 h 581025"/>
                <a:gd name="connsiteX100" fmla="*/ 425646 w 581025"/>
                <a:gd name="connsiteY100" fmla="*/ 467123 h 581025"/>
                <a:gd name="connsiteX101" fmla="*/ 464508 w 581025"/>
                <a:gd name="connsiteY101" fmla="*/ 429023 h 581025"/>
                <a:gd name="connsiteX102" fmla="*/ 491940 w 581025"/>
                <a:gd name="connsiteY102" fmla="*/ 420260 h 581025"/>
                <a:gd name="connsiteX103" fmla="*/ 512133 w 581025"/>
                <a:gd name="connsiteY103" fmla="*/ 425022 h 581025"/>
                <a:gd name="connsiteX104" fmla="*/ 522610 w 581025"/>
                <a:gd name="connsiteY104" fmla="*/ 427403 h 581025"/>
                <a:gd name="connsiteX105" fmla="*/ 549757 w 581025"/>
                <a:gd name="connsiteY105" fmla="*/ 361300 h 581025"/>
                <a:gd name="connsiteX106" fmla="*/ 521182 w 581025"/>
                <a:gd name="connsiteY106" fmla="*/ 344155 h 581025"/>
                <a:gd name="connsiteX107" fmla="*/ 518515 w 581025"/>
                <a:gd name="connsiteY107" fmla="*/ 342345 h 581025"/>
                <a:gd name="connsiteX108" fmla="*/ 517372 w 581025"/>
                <a:gd name="connsiteY108" fmla="*/ 341583 h 581025"/>
                <a:gd name="connsiteX109" fmla="*/ 509180 w 581025"/>
                <a:gd name="connsiteY109" fmla="*/ 322533 h 581025"/>
                <a:gd name="connsiteX110" fmla="*/ 509180 w 581025"/>
                <a:gd name="connsiteY110" fmla="*/ 265955 h 581025"/>
                <a:gd name="connsiteX111" fmla="*/ 518705 w 581025"/>
                <a:gd name="connsiteY111" fmla="*/ 246905 h 581025"/>
                <a:gd name="connsiteX112" fmla="*/ 542327 w 581025"/>
                <a:gd name="connsiteY112" fmla="*/ 231950 h 581025"/>
                <a:gd name="connsiteX113" fmla="*/ 549566 w 581025"/>
                <a:gd name="connsiteY113" fmla="*/ 227283 h 581025"/>
                <a:gd name="connsiteX114" fmla="*/ 533183 w 581025"/>
                <a:gd name="connsiteY114" fmla="*/ 182420 h 581025"/>
                <a:gd name="connsiteX115" fmla="*/ 527182 w 581025"/>
                <a:gd name="connsiteY115" fmla="*/ 170990 h 581025"/>
                <a:gd name="connsiteX116" fmla="*/ 521944 w 581025"/>
                <a:gd name="connsiteY116" fmla="*/ 160894 h 581025"/>
                <a:gd name="connsiteX117" fmla="*/ 486415 w 581025"/>
                <a:gd name="connsiteY117" fmla="*/ 169371 h 581025"/>
                <a:gd name="connsiteX118" fmla="*/ 467365 w 581025"/>
                <a:gd name="connsiteY118" fmla="*/ 163085 h 581025"/>
                <a:gd name="connsiteX119" fmla="*/ 426313 w 581025"/>
                <a:gd name="connsiteY119" fmla="*/ 121937 h 581025"/>
                <a:gd name="connsiteX120" fmla="*/ 418883 w 581025"/>
                <a:gd name="connsiteY120" fmla="*/ 99553 h 581025"/>
                <a:gd name="connsiteX121" fmla="*/ 422693 w 581025"/>
                <a:gd name="connsiteY121" fmla="*/ 82789 h 581025"/>
                <a:gd name="connsiteX122" fmla="*/ 426979 w 581025"/>
                <a:gd name="connsiteY122" fmla="*/ 63739 h 581025"/>
                <a:gd name="connsiteX123" fmla="*/ 393070 w 581025"/>
                <a:gd name="connsiteY123" fmla="*/ 47356 h 581025"/>
                <a:gd name="connsiteX124" fmla="*/ 365734 w 581025"/>
                <a:gd name="connsiteY124" fmla="*/ 38498 h 581025"/>
                <a:gd name="connsiteX125" fmla="*/ 360495 w 581025"/>
                <a:gd name="connsiteY125" fmla="*/ 36878 h 581025"/>
                <a:gd name="connsiteX126" fmla="*/ 349160 w 581025"/>
                <a:gd name="connsiteY126" fmla="*/ 54785 h 581025"/>
                <a:gd name="connsiteX127" fmla="*/ 341921 w 581025"/>
                <a:gd name="connsiteY127" fmla="*/ 66025 h 581025"/>
                <a:gd name="connsiteX128" fmla="*/ 320395 w 581025"/>
                <a:gd name="connsiteY128" fmla="*/ 76598 h 581025"/>
                <a:gd name="connsiteX129" fmla="*/ 264864 w 581025"/>
                <a:gd name="connsiteY129" fmla="*/ 76598 h 581025"/>
                <a:gd name="connsiteX130" fmla="*/ 245147 w 581025"/>
                <a:gd name="connsiteY130" fmla="*/ 67073 h 581025"/>
                <a:gd name="connsiteX131" fmla="*/ 244576 w 581025"/>
                <a:gd name="connsiteY131" fmla="*/ 66120 h 581025"/>
                <a:gd name="connsiteX132" fmla="*/ 230002 w 581025"/>
                <a:gd name="connsiteY132" fmla="*/ 43355 h 581025"/>
                <a:gd name="connsiteX133" fmla="*/ 227145 w 581025"/>
                <a:gd name="connsiteY133" fmla="*/ 38879 h 581025"/>
                <a:gd name="connsiteX134" fmla="*/ 226192 w 581025"/>
                <a:gd name="connsiteY134" fmla="*/ 37450 h 581025"/>
                <a:gd name="connsiteX135" fmla="*/ 221620 w 581025"/>
                <a:gd name="connsiteY135" fmla="*/ 38783 h 581025"/>
                <a:gd name="connsiteX136" fmla="*/ 202570 w 581025"/>
                <a:gd name="connsiteY136" fmla="*/ 44594 h 581025"/>
                <a:gd name="connsiteX137" fmla="*/ 159327 w 581025"/>
                <a:gd name="connsiteY137" fmla="*/ 64691 h 581025"/>
                <a:gd name="connsiteX138" fmla="*/ 159327 w 581025"/>
                <a:gd name="connsiteY138" fmla="*/ 66120 h 581025"/>
                <a:gd name="connsiteX139" fmla="*/ 166852 w 581025"/>
                <a:gd name="connsiteY139" fmla="*/ 97648 h 581025"/>
                <a:gd name="connsiteX140" fmla="*/ 158470 w 581025"/>
                <a:gd name="connsiteY140" fmla="*/ 122413 h 581025"/>
                <a:gd name="connsiteX141" fmla="*/ 127609 w 581025"/>
                <a:gd name="connsiteY141" fmla="*/ 151845 h 581025"/>
                <a:gd name="connsiteX142" fmla="*/ 119893 w 581025"/>
                <a:gd name="connsiteY142" fmla="*/ 161370 h 581025"/>
                <a:gd name="connsiteX143" fmla="*/ 98462 w 581025"/>
                <a:gd name="connsiteY143" fmla="*/ 168323 h 581025"/>
                <a:gd name="connsiteX144" fmla="*/ 63982 w 581025"/>
                <a:gd name="connsiteY144" fmla="*/ 160132 h 581025"/>
                <a:gd name="connsiteX145" fmla="*/ 43122 w 581025"/>
                <a:gd name="connsiteY145" fmla="*/ 205280 h 581025"/>
                <a:gd name="connsiteX146" fmla="*/ 38740 w 581025"/>
                <a:gd name="connsiteY146" fmla="*/ 220330 h 581025"/>
                <a:gd name="connsiteX147" fmla="*/ 36931 w 581025"/>
                <a:gd name="connsiteY147" fmla="*/ 226331 h 581025"/>
                <a:gd name="connsiteX148" fmla="*/ 67887 w 581025"/>
                <a:gd name="connsiteY148" fmla="*/ 245381 h 581025"/>
                <a:gd name="connsiteX149" fmla="*/ 77412 w 581025"/>
                <a:gd name="connsiteY149" fmla="*/ 264431 h 581025"/>
                <a:gd name="connsiteX150" fmla="*/ 76840 w 581025"/>
                <a:gd name="connsiteY150" fmla="*/ 315580 h 581025"/>
                <a:gd name="connsiteX151" fmla="*/ 76840 w 581025"/>
                <a:gd name="connsiteY151" fmla="*/ 317390 h 581025"/>
                <a:gd name="connsiteX152" fmla="*/ 77602 w 581025"/>
                <a:gd name="connsiteY152" fmla="*/ 323009 h 581025"/>
                <a:gd name="connsiteX153" fmla="*/ 68077 w 581025"/>
                <a:gd name="connsiteY153" fmla="*/ 341488 h 581025"/>
                <a:gd name="connsiteX154" fmla="*/ 37026 w 581025"/>
                <a:gd name="connsiteY154" fmla="*/ 360538 h 581025"/>
                <a:gd name="connsiteX155" fmla="*/ 65601 w 581025"/>
                <a:gd name="connsiteY155" fmla="*/ 426737 h 581025"/>
                <a:gd name="connsiteX156" fmla="*/ 101510 w 581025"/>
                <a:gd name="connsiteY156" fmla="*/ 418259 h 581025"/>
                <a:gd name="connsiteX157" fmla="*/ 120560 w 581025"/>
                <a:gd name="connsiteY157" fmla="*/ 425022 h 581025"/>
                <a:gd name="connsiteX158" fmla="*/ 158660 w 581025"/>
                <a:gd name="connsiteY158" fmla="*/ 463122 h 581025"/>
                <a:gd name="connsiteX159" fmla="*/ 168185 w 581025"/>
                <a:gd name="connsiteY159" fmla="*/ 489983 h 581025"/>
                <a:gd name="connsiteX160" fmla="*/ 162470 w 581025"/>
                <a:gd name="connsiteY160" fmla="*/ 514938 h 581025"/>
                <a:gd name="connsiteX161" fmla="*/ 161137 w 581025"/>
                <a:gd name="connsiteY161" fmla="*/ 521701 h 581025"/>
                <a:gd name="connsiteX162" fmla="*/ 537565 w 581025"/>
                <a:gd name="connsiteY162" fmla="*/ 260621 h 581025"/>
                <a:gd name="connsiteX163" fmla="*/ 537565 w 581025"/>
                <a:gd name="connsiteY163" fmla="*/ 261573 h 581025"/>
                <a:gd name="connsiteX164" fmla="*/ 537565 w 581025"/>
                <a:gd name="connsiteY164" fmla="*/ 260621 h 581025"/>
                <a:gd name="connsiteX165" fmla="*/ 489940 w 581025"/>
                <a:gd name="connsiteY165" fmla="*/ 144416 h 581025"/>
                <a:gd name="connsiteX166" fmla="*/ 489940 w 581025"/>
                <a:gd name="connsiteY166" fmla="*/ 144416 h 581025"/>
                <a:gd name="connsiteX167" fmla="*/ 98367 w 581025"/>
                <a:gd name="connsiteY167" fmla="*/ 143273 h 581025"/>
                <a:gd name="connsiteX168" fmla="*/ 97891 w 581025"/>
                <a:gd name="connsiteY168" fmla="*/ 143939 h 581025"/>
                <a:gd name="connsiteX169" fmla="*/ 261721 w 581025"/>
                <a:gd name="connsiteY169" fmla="*/ 49261 h 581025"/>
                <a:gd name="connsiteX170" fmla="*/ 261721 w 581025"/>
                <a:gd name="connsiteY170" fmla="*/ 49261 h 581025"/>
                <a:gd name="connsiteX171" fmla="*/ 234765 w 581025"/>
                <a:gd name="connsiteY171" fmla="*/ 34878 h 581025"/>
                <a:gd name="connsiteX172" fmla="*/ 233622 w 581025"/>
                <a:gd name="connsiteY172" fmla="*/ 34878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</a:cxnLst>
              <a:rect l="l" t="t" r="r" b="b"/>
              <a:pathLst>
                <a:path w="581025" h="581025">
                  <a:moveTo>
                    <a:pt x="230764" y="578851"/>
                  </a:moveTo>
                  <a:cubicBezTo>
                    <a:pt x="228757" y="578861"/>
                    <a:pt x="226761" y="578540"/>
                    <a:pt x="224859" y="577898"/>
                  </a:cubicBezTo>
                  <a:cubicBezTo>
                    <a:pt x="202431" y="572340"/>
                    <a:pt x="180727" y="564189"/>
                    <a:pt x="160184" y="553610"/>
                  </a:cubicBezTo>
                  <a:cubicBezTo>
                    <a:pt x="154374" y="550562"/>
                    <a:pt x="148849" y="547228"/>
                    <a:pt x="143420" y="544085"/>
                  </a:cubicBezTo>
                  <a:lnTo>
                    <a:pt x="140753" y="542465"/>
                  </a:lnTo>
                  <a:cubicBezTo>
                    <a:pt x="133223" y="538455"/>
                    <a:pt x="129620" y="529648"/>
                    <a:pt x="132181" y="521510"/>
                  </a:cubicBezTo>
                  <a:cubicBezTo>
                    <a:pt x="133133" y="517510"/>
                    <a:pt x="133990" y="513414"/>
                    <a:pt x="134848" y="509414"/>
                  </a:cubicBezTo>
                  <a:cubicBezTo>
                    <a:pt x="136562" y="501317"/>
                    <a:pt x="138277" y="493031"/>
                    <a:pt x="140467" y="484744"/>
                  </a:cubicBezTo>
                  <a:cubicBezTo>
                    <a:pt x="126468" y="473413"/>
                    <a:pt x="113698" y="460643"/>
                    <a:pt x="102367" y="446644"/>
                  </a:cubicBezTo>
                  <a:lnTo>
                    <a:pt x="68363" y="454645"/>
                  </a:lnTo>
                  <a:cubicBezTo>
                    <a:pt x="58639" y="458661"/>
                    <a:pt x="47500" y="454034"/>
                    <a:pt x="43483" y="444310"/>
                  </a:cubicBezTo>
                  <a:cubicBezTo>
                    <a:pt x="43425" y="444168"/>
                    <a:pt x="43368" y="444025"/>
                    <a:pt x="43312" y="443882"/>
                  </a:cubicBezTo>
                  <a:cubicBezTo>
                    <a:pt x="27402" y="418028"/>
                    <a:pt x="15639" y="389841"/>
                    <a:pt x="8451" y="360347"/>
                  </a:cubicBezTo>
                  <a:cubicBezTo>
                    <a:pt x="5812" y="352335"/>
                    <a:pt x="9358" y="343589"/>
                    <a:pt x="16833" y="339678"/>
                  </a:cubicBezTo>
                  <a:lnTo>
                    <a:pt x="49027" y="319676"/>
                  </a:lnTo>
                  <a:lnTo>
                    <a:pt x="49027" y="317771"/>
                  </a:lnTo>
                  <a:cubicBezTo>
                    <a:pt x="47361" y="300539"/>
                    <a:pt x="47361" y="283186"/>
                    <a:pt x="49027" y="265955"/>
                  </a:cubicBezTo>
                  <a:lnTo>
                    <a:pt x="16547" y="245571"/>
                  </a:lnTo>
                  <a:cubicBezTo>
                    <a:pt x="8719" y="241541"/>
                    <a:pt x="5155" y="232283"/>
                    <a:pt x="8260" y="224045"/>
                  </a:cubicBezTo>
                  <a:cubicBezTo>
                    <a:pt x="9403" y="220425"/>
                    <a:pt x="10737" y="215948"/>
                    <a:pt x="11975" y="211472"/>
                  </a:cubicBezTo>
                  <a:cubicBezTo>
                    <a:pt x="13213" y="206995"/>
                    <a:pt x="15118" y="200708"/>
                    <a:pt x="16738" y="195470"/>
                  </a:cubicBezTo>
                  <a:cubicBezTo>
                    <a:pt x="23406" y="176145"/>
                    <a:pt x="32190" y="157618"/>
                    <a:pt x="42931" y="140225"/>
                  </a:cubicBezTo>
                  <a:cubicBezTo>
                    <a:pt x="46849" y="131467"/>
                    <a:pt x="56920" y="127288"/>
                    <a:pt x="65887" y="130700"/>
                  </a:cubicBezTo>
                  <a:lnTo>
                    <a:pt x="101415" y="139177"/>
                  </a:lnTo>
                  <a:cubicBezTo>
                    <a:pt x="103320" y="136891"/>
                    <a:pt x="105225" y="134795"/>
                    <a:pt x="107130" y="132700"/>
                  </a:cubicBezTo>
                  <a:cubicBezTo>
                    <a:pt x="116925" y="121483"/>
                    <a:pt x="127664" y="111126"/>
                    <a:pt x="139229" y="101744"/>
                  </a:cubicBezTo>
                  <a:cubicBezTo>
                    <a:pt x="136753" y="92219"/>
                    <a:pt x="134467" y="82122"/>
                    <a:pt x="132181" y="72216"/>
                  </a:cubicBezTo>
                  <a:lnTo>
                    <a:pt x="131038" y="67073"/>
                  </a:lnTo>
                  <a:cubicBezTo>
                    <a:pt x="127487" y="57705"/>
                    <a:pt x="131603" y="47170"/>
                    <a:pt x="140563" y="42689"/>
                  </a:cubicBezTo>
                  <a:cubicBezTo>
                    <a:pt x="157297" y="32508"/>
                    <a:pt x="175085" y="24173"/>
                    <a:pt x="193617" y="17828"/>
                  </a:cubicBezTo>
                  <a:cubicBezTo>
                    <a:pt x="200284" y="15542"/>
                    <a:pt x="207047" y="13542"/>
                    <a:pt x="213905" y="11542"/>
                  </a:cubicBezTo>
                  <a:cubicBezTo>
                    <a:pt x="217715" y="10494"/>
                    <a:pt x="221716" y="9351"/>
                    <a:pt x="225526" y="8113"/>
                  </a:cubicBezTo>
                  <a:cubicBezTo>
                    <a:pt x="233953" y="5349"/>
                    <a:pt x="243130" y="9207"/>
                    <a:pt x="247052" y="17162"/>
                  </a:cubicBezTo>
                  <a:cubicBezTo>
                    <a:pt x="248290" y="19352"/>
                    <a:pt x="249719" y="21448"/>
                    <a:pt x="251053" y="23543"/>
                  </a:cubicBezTo>
                  <a:lnTo>
                    <a:pt x="254005" y="28306"/>
                  </a:lnTo>
                  <a:lnTo>
                    <a:pt x="266959" y="48689"/>
                  </a:lnTo>
                  <a:cubicBezTo>
                    <a:pt x="284564" y="46832"/>
                    <a:pt x="302314" y="46832"/>
                    <a:pt x="319918" y="48689"/>
                  </a:cubicBezTo>
                  <a:lnTo>
                    <a:pt x="325443" y="40022"/>
                  </a:lnTo>
                  <a:cubicBezTo>
                    <a:pt x="330205" y="32592"/>
                    <a:pt x="334968" y="25163"/>
                    <a:pt x="339540" y="17733"/>
                  </a:cubicBezTo>
                  <a:cubicBezTo>
                    <a:pt x="343806" y="9130"/>
                    <a:pt x="353809" y="5048"/>
                    <a:pt x="362876" y="8208"/>
                  </a:cubicBezTo>
                  <a:lnTo>
                    <a:pt x="374020" y="11637"/>
                  </a:lnTo>
                  <a:cubicBezTo>
                    <a:pt x="383545" y="14495"/>
                    <a:pt x="393070" y="17447"/>
                    <a:pt x="402595" y="21162"/>
                  </a:cubicBezTo>
                  <a:cubicBezTo>
                    <a:pt x="417725" y="26870"/>
                    <a:pt x="432244" y="34082"/>
                    <a:pt x="445934" y="42689"/>
                  </a:cubicBezTo>
                  <a:cubicBezTo>
                    <a:pt x="454169" y="46903"/>
                    <a:pt x="458186" y="56424"/>
                    <a:pt x="455459" y="65263"/>
                  </a:cubicBezTo>
                  <a:cubicBezTo>
                    <a:pt x="453554" y="73169"/>
                    <a:pt x="451840" y="81074"/>
                    <a:pt x="450030" y="88885"/>
                  </a:cubicBezTo>
                  <a:cubicBezTo>
                    <a:pt x="449077" y="92981"/>
                    <a:pt x="448220" y="97076"/>
                    <a:pt x="447268" y="101172"/>
                  </a:cubicBezTo>
                  <a:cubicBezTo>
                    <a:pt x="461262" y="112508"/>
                    <a:pt x="474032" y="125277"/>
                    <a:pt x="485368" y="139272"/>
                  </a:cubicBezTo>
                  <a:lnTo>
                    <a:pt x="536517" y="127366"/>
                  </a:lnTo>
                  <a:lnTo>
                    <a:pt x="542518" y="137653"/>
                  </a:lnTo>
                  <a:lnTo>
                    <a:pt x="544613" y="141368"/>
                  </a:lnTo>
                  <a:cubicBezTo>
                    <a:pt x="547280" y="146606"/>
                    <a:pt x="549852" y="151655"/>
                    <a:pt x="552519" y="156608"/>
                  </a:cubicBezTo>
                  <a:lnTo>
                    <a:pt x="558805" y="168704"/>
                  </a:lnTo>
                  <a:cubicBezTo>
                    <a:pt x="567667" y="186933"/>
                    <a:pt x="574441" y="206105"/>
                    <a:pt x="578998" y="225854"/>
                  </a:cubicBezTo>
                  <a:cubicBezTo>
                    <a:pt x="581196" y="234189"/>
                    <a:pt x="577211" y="242916"/>
                    <a:pt x="569473" y="246714"/>
                  </a:cubicBezTo>
                  <a:lnTo>
                    <a:pt x="557853" y="254048"/>
                  </a:lnTo>
                  <a:lnTo>
                    <a:pt x="538136" y="266621"/>
                  </a:lnTo>
                  <a:cubicBezTo>
                    <a:pt x="539851" y="284137"/>
                    <a:pt x="539851" y="301779"/>
                    <a:pt x="538136" y="319295"/>
                  </a:cubicBezTo>
                  <a:lnTo>
                    <a:pt x="580237" y="344631"/>
                  </a:lnTo>
                  <a:lnTo>
                    <a:pt x="580237" y="357776"/>
                  </a:lnTo>
                  <a:lnTo>
                    <a:pt x="578998" y="360252"/>
                  </a:lnTo>
                  <a:cubicBezTo>
                    <a:pt x="571636" y="390424"/>
                    <a:pt x="559788" y="419321"/>
                    <a:pt x="543851" y="445977"/>
                  </a:cubicBezTo>
                  <a:cubicBezTo>
                    <a:pt x="539892" y="453676"/>
                    <a:pt x="530970" y="457414"/>
                    <a:pt x="522706" y="454835"/>
                  </a:cubicBezTo>
                  <a:lnTo>
                    <a:pt x="506132" y="451025"/>
                  </a:lnTo>
                  <a:lnTo>
                    <a:pt x="485844" y="446263"/>
                  </a:lnTo>
                  <a:cubicBezTo>
                    <a:pt x="474457" y="460212"/>
                    <a:pt x="461693" y="472976"/>
                    <a:pt x="447744" y="484363"/>
                  </a:cubicBezTo>
                  <a:cubicBezTo>
                    <a:pt x="448601" y="487887"/>
                    <a:pt x="449363" y="491411"/>
                    <a:pt x="450220" y="494936"/>
                  </a:cubicBezTo>
                  <a:cubicBezTo>
                    <a:pt x="452221" y="503318"/>
                    <a:pt x="454126" y="511795"/>
                    <a:pt x="456221" y="519986"/>
                  </a:cubicBezTo>
                  <a:cubicBezTo>
                    <a:pt x="457757" y="524201"/>
                    <a:pt x="457757" y="528822"/>
                    <a:pt x="456221" y="533036"/>
                  </a:cubicBezTo>
                  <a:cubicBezTo>
                    <a:pt x="454449" y="537515"/>
                    <a:pt x="451046" y="541157"/>
                    <a:pt x="446696" y="543227"/>
                  </a:cubicBezTo>
                  <a:lnTo>
                    <a:pt x="435552" y="549038"/>
                  </a:lnTo>
                  <a:cubicBezTo>
                    <a:pt x="427932" y="553038"/>
                    <a:pt x="420026" y="557229"/>
                    <a:pt x="411930" y="560944"/>
                  </a:cubicBezTo>
                  <a:cubicBezTo>
                    <a:pt x="396225" y="567999"/>
                    <a:pt x="379899" y="573579"/>
                    <a:pt x="363162" y="577613"/>
                  </a:cubicBezTo>
                  <a:cubicBezTo>
                    <a:pt x="354275" y="580947"/>
                    <a:pt x="344330" y="576769"/>
                    <a:pt x="340492" y="568088"/>
                  </a:cubicBezTo>
                  <a:lnTo>
                    <a:pt x="336016" y="560753"/>
                  </a:lnTo>
                  <a:cubicBezTo>
                    <a:pt x="331063" y="552848"/>
                    <a:pt x="326491" y="544942"/>
                    <a:pt x="321252" y="537036"/>
                  </a:cubicBezTo>
                  <a:cubicBezTo>
                    <a:pt x="316108" y="537608"/>
                    <a:pt x="310965" y="538084"/>
                    <a:pt x="305821" y="538370"/>
                  </a:cubicBezTo>
                  <a:cubicBezTo>
                    <a:pt x="293113" y="539139"/>
                    <a:pt x="280361" y="538756"/>
                    <a:pt x="267721" y="537227"/>
                  </a:cubicBezTo>
                  <a:cubicBezTo>
                    <a:pt x="266864" y="538560"/>
                    <a:pt x="266102" y="539894"/>
                    <a:pt x="265245" y="541132"/>
                  </a:cubicBezTo>
                  <a:lnTo>
                    <a:pt x="247433" y="568945"/>
                  </a:lnTo>
                  <a:cubicBezTo>
                    <a:pt x="244099" y="575039"/>
                    <a:pt x="237711" y="578835"/>
                    <a:pt x="230764" y="578851"/>
                  </a:cubicBezTo>
                  <a:close/>
                  <a:moveTo>
                    <a:pt x="161137" y="521701"/>
                  </a:moveTo>
                  <a:cubicBezTo>
                    <a:pt x="165042" y="523987"/>
                    <a:pt x="169042" y="526368"/>
                    <a:pt x="173233" y="528464"/>
                  </a:cubicBezTo>
                  <a:cubicBezTo>
                    <a:pt x="190191" y="537164"/>
                    <a:pt x="208002" y="544091"/>
                    <a:pt x="226383" y="549133"/>
                  </a:cubicBezTo>
                  <a:lnTo>
                    <a:pt x="241242" y="525797"/>
                  </a:lnTo>
                  <a:lnTo>
                    <a:pt x="243623" y="521987"/>
                  </a:lnTo>
                  <a:cubicBezTo>
                    <a:pt x="244957" y="519796"/>
                    <a:pt x="246290" y="517700"/>
                    <a:pt x="247719" y="515605"/>
                  </a:cubicBezTo>
                  <a:cubicBezTo>
                    <a:pt x="251115" y="511110"/>
                    <a:pt x="256375" y="508410"/>
                    <a:pt x="262006" y="508271"/>
                  </a:cubicBezTo>
                  <a:lnTo>
                    <a:pt x="263245" y="508271"/>
                  </a:lnTo>
                  <a:lnTo>
                    <a:pt x="264483" y="508271"/>
                  </a:lnTo>
                  <a:cubicBezTo>
                    <a:pt x="277492" y="510287"/>
                    <a:pt x="290678" y="510925"/>
                    <a:pt x="303821" y="510176"/>
                  </a:cubicBezTo>
                  <a:cubicBezTo>
                    <a:pt x="309346" y="510176"/>
                    <a:pt x="314680" y="509223"/>
                    <a:pt x="320109" y="508652"/>
                  </a:cubicBezTo>
                  <a:lnTo>
                    <a:pt x="323062" y="508652"/>
                  </a:lnTo>
                  <a:cubicBezTo>
                    <a:pt x="330806" y="507358"/>
                    <a:pt x="338500" y="511206"/>
                    <a:pt x="342112" y="518177"/>
                  </a:cubicBezTo>
                  <a:cubicBezTo>
                    <a:pt x="347922" y="527702"/>
                    <a:pt x="353827" y="537227"/>
                    <a:pt x="359733" y="546752"/>
                  </a:cubicBezTo>
                  <a:lnTo>
                    <a:pt x="361447" y="549514"/>
                  </a:lnTo>
                  <a:cubicBezTo>
                    <a:pt x="374507" y="546090"/>
                    <a:pt x="387252" y="541565"/>
                    <a:pt x="399547" y="535988"/>
                  </a:cubicBezTo>
                  <a:cubicBezTo>
                    <a:pt x="406882" y="532559"/>
                    <a:pt x="414025" y="528749"/>
                    <a:pt x="421645" y="524749"/>
                  </a:cubicBezTo>
                  <a:lnTo>
                    <a:pt x="427456" y="521796"/>
                  </a:lnTo>
                  <a:cubicBezTo>
                    <a:pt x="425836" y="515319"/>
                    <a:pt x="424312" y="508747"/>
                    <a:pt x="422788" y="502175"/>
                  </a:cubicBezTo>
                  <a:cubicBezTo>
                    <a:pt x="421264" y="495602"/>
                    <a:pt x="420217" y="491507"/>
                    <a:pt x="418979" y="486173"/>
                  </a:cubicBezTo>
                  <a:cubicBezTo>
                    <a:pt x="417098" y="479057"/>
                    <a:pt x="419738" y="471513"/>
                    <a:pt x="425646" y="467123"/>
                  </a:cubicBezTo>
                  <a:cubicBezTo>
                    <a:pt x="440038" y="455977"/>
                    <a:pt x="453080" y="443191"/>
                    <a:pt x="464508" y="429023"/>
                  </a:cubicBezTo>
                  <a:cubicBezTo>
                    <a:pt x="470670" y="420304"/>
                    <a:pt x="481865" y="416728"/>
                    <a:pt x="491940" y="420260"/>
                  </a:cubicBezTo>
                  <a:cubicBezTo>
                    <a:pt x="498607" y="421974"/>
                    <a:pt x="505370" y="423498"/>
                    <a:pt x="512133" y="425022"/>
                  </a:cubicBezTo>
                  <a:lnTo>
                    <a:pt x="522610" y="427403"/>
                  </a:lnTo>
                  <a:cubicBezTo>
                    <a:pt x="534492" y="406641"/>
                    <a:pt x="543618" y="384420"/>
                    <a:pt x="549757" y="361300"/>
                  </a:cubicBezTo>
                  <a:lnTo>
                    <a:pt x="521182" y="344155"/>
                  </a:lnTo>
                  <a:cubicBezTo>
                    <a:pt x="520229" y="343651"/>
                    <a:pt x="519335" y="343044"/>
                    <a:pt x="518515" y="342345"/>
                  </a:cubicBezTo>
                  <a:lnTo>
                    <a:pt x="517372" y="341583"/>
                  </a:lnTo>
                  <a:cubicBezTo>
                    <a:pt x="511122" y="337406"/>
                    <a:pt x="507913" y="329943"/>
                    <a:pt x="509180" y="322533"/>
                  </a:cubicBezTo>
                  <a:cubicBezTo>
                    <a:pt x="511371" y="303737"/>
                    <a:pt x="511371" y="284751"/>
                    <a:pt x="509180" y="265955"/>
                  </a:cubicBezTo>
                  <a:cubicBezTo>
                    <a:pt x="508008" y="258229"/>
                    <a:pt x="511822" y="250602"/>
                    <a:pt x="518705" y="246905"/>
                  </a:cubicBezTo>
                  <a:lnTo>
                    <a:pt x="542327" y="231950"/>
                  </a:lnTo>
                  <a:lnTo>
                    <a:pt x="549566" y="227283"/>
                  </a:lnTo>
                  <a:cubicBezTo>
                    <a:pt x="545632" y="211815"/>
                    <a:pt x="540144" y="196784"/>
                    <a:pt x="533183" y="182420"/>
                  </a:cubicBezTo>
                  <a:lnTo>
                    <a:pt x="527182" y="170990"/>
                  </a:lnTo>
                  <a:cubicBezTo>
                    <a:pt x="525468" y="167657"/>
                    <a:pt x="523658" y="164323"/>
                    <a:pt x="521944" y="160894"/>
                  </a:cubicBezTo>
                  <a:lnTo>
                    <a:pt x="486415" y="169371"/>
                  </a:lnTo>
                  <a:cubicBezTo>
                    <a:pt x="479375" y="171476"/>
                    <a:pt x="471770" y="168966"/>
                    <a:pt x="467365" y="163085"/>
                  </a:cubicBezTo>
                  <a:cubicBezTo>
                    <a:pt x="455477" y="147687"/>
                    <a:pt x="441682" y="133861"/>
                    <a:pt x="426313" y="121937"/>
                  </a:cubicBezTo>
                  <a:cubicBezTo>
                    <a:pt x="418960" y="117090"/>
                    <a:pt x="415888" y="107834"/>
                    <a:pt x="418883" y="99553"/>
                  </a:cubicBezTo>
                  <a:cubicBezTo>
                    <a:pt x="420217" y="93933"/>
                    <a:pt x="421455" y="88409"/>
                    <a:pt x="422693" y="82789"/>
                  </a:cubicBezTo>
                  <a:lnTo>
                    <a:pt x="426979" y="63739"/>
                  </a:lnTo>
                  <a:cubicBezTo>
                    <a:pt x="416191" y="57271"/>
                    <a:pt x="404842" y="51788"/>
                    <a:pt x="393070" y="47356"/>
                  </a:cubicBezTo>
                  <a:cubicBezTo>
                    <a:pt x="384212" y="44117"/>
                    <a:pt x="375259" y="41355"/>
                    <a:pt x="365734" y="38498"/>
                  </a:cubicBezTo>
                  <a:lnTo>
                    <a:pt x="360495" y="36878"/>
                  </a:lnTo>
                  <a:lnTo>
                    <a:pt x="349160" y="54785"/>
                  </a:lnTo>
                  <a:lnTo>
                    <a:pt x="341921" y="66025"/>
                  </a:lnTo>
                  <a:cubicBezTo>
                    <a:pt x="337754" y="73799"/>
                    <a:pt x="329095" y="78052"/>
                    <a:pt x="320395" y="76598"/>
                  </a:cubicBezTo>
                  <a:cubicBezTo>
                    <a:pt x="301952" y="74359"/>
                    <a:pt x="283306" y="74359"/>
                    <a:pt x="264864" y="76598"/>
                  </a:cubicBezTo>
                  <a:cubicBezTo>
                    <a:pt x="256941" y="77894"/>
                    <a:pt x="249056" y="74085"/>
                    <a:pt x="245147" y="67073"/>
                  </a:cubicBezTo>
                  <a:lnTo>
                    <a:pt x="244576" y="66120"/>
                  </a:lnTo>
                  <a:lnTo>
                    <a:pt x="230002" y="43355"/>
                  </a:lnTo>
                  <a:lnTo>
                    <a:pt x="227145" y="38879"/>
                  </a:lnTo>
                  <a:lnTo>
                    <a:pt x="226192" y="37450"/>
                  </a:lnTo>
                  <a:lnTo>
                    <a:pt x="221620" y="38783"/>
                  </a:lnTo>
                  <a:cubicBezTo>
                    <a:pt x="215334" y="40593"/>
                    <a:pt x="208952" y="42403"/>
                    <a:pt x="202570" y="44594"/>
                  </a:cubicBezTo>
                  <a:cubicBezTo>
                    <a:pt x="187534" y="49865"/>
                    <a:pt x="173051" y="56596"/>
                    <a:pt x="159327" y="64691"/>
                  </a:cubicBezTo>
                  <a:lnTo>
                    <a:pt x="159327" y="66120"/>
                  </a:lnTo>
                  <a:cubicBezTo>
                    <a:pt x="161708" y="76693"/>
                    <a:pt x="164089" y="87170"/>
                    <a:pt x="166852" y="97648"/>
                  </a:cubicBezTo>
                  <a:cubicBezTo>
                    <a:pt x="169639" y="106846"/>
                    <a:pt x="166271" y="116799"/>
                    <a:pt x="158470" y="122413"/>
                  </a:cubicBezTo>
                  <a:cubicBezTo>
                    <a:pt x="147320" y="131278"/>
                    <a:pt x="136992" y="141128"/>
                    <a:pt x="127609" y="151845"/>
                  </a:cubicBezTo>
                  <a:cubicBezTo>
                    <a:pt x="124656" y="155084"/>
                    <a:pt x="122275" y="157941"/>
                    <a:pt x="119893" y="161370"/>
                  </a:cubicBezTo>
                  <a:cubicBezTo>
                    <a:pt x="114925" y="167967"/>
                    <a:pt x="106357" y="170747"/>
                    <a:pt x="98462" y="168323"/>
                  </a:cubicBezTo>
                  <a:lnTo>
                    <a:pt x="63982" y="160132"/>
                  </a:lnTo>
                  <a:cubicBezTo>
                    <a:pt x="55554" y="174455"/>
                    <a:pt x="48566" y="189579"/>
                    <a:pt x="43122" y="205280"/>
                  </a:cubicBezTo>
                  <a:cubicBezTo>
                    <a:pt x="41693" y="210043"/>
                    <a:pt x="40169" y="214805"/>
                    <a:pt x="38740" y="220330"/>
                  </a:cubicBezTo>
                  <a:cubicBezTo>
                    <a:pt x="38074" y="222330"/>
                    <a:pt x="37502" y="224330"/>
                    <a:pt x="36931" y="226331"/>
                  </a:cubicBezTo>
                  <a:lnTo>
                    <a:pt x="67887" y="245381"/>
                  </a:lnTo>
                  <a:cubicBezTo>
                    <a:pt x="74814" y="249036"/>
                    <a:pt x="78644" y="256696"/>
                    <a:pt x="77412" y="264431"/>
                  </a:cubicBezTo>
                  <a:cubicBezTo>
                    <a:pt x="75412" y="281412"/>
                    <a:pt x="75221" y="298558"/>
                    <a:pt x="76840" y="315580"/>
                  </a:cubicBezTo>
                  <a:cubicBezTo>
                    <a:pt x="76809" y="316183"/>
                    <a:pt x="76809" y="316787"/>
                    <a:pt x="76840" y="317390"/>
                  </a:cubicBezTo>
                  <a:cubicBezTo>
                    <a:pt x="77234" y="319241"/>
                    <a:pt x="77488" y="321120"/>
                    <a:pt x="77602" y="323009"/>
                  </a:cubicBezTo>
                  <a:cubicBezTo>
                    <a:pt x="78724" y="330575"/>
                    <a:pt x="74890" y="338012"/>
                    <a:pt x="68077" y="341488"/>
                  </a:cubicBezTo>
                  <a:lnTo>
                    <a:pt x="37026" y="360538"/>
                  </a:lnTo>
                  <a:cubicBezTo>
                    <a:pt x="43510" y="383796"/>
                    <a:pt x="53123" y="406066"/>
                    <a:pt x="65601" y="426737"/>
                  </a:cubicBezTo>
                  <a:lnTo>
                    <a:pt x="101510" y="418259"/>
                  </a:lnTo>
                  <a:cubicBezTo>
                    <a:pt x="108652" y="416225"/>
                    <a:pt x="116299" y="418940"/>
                    <a:pt x="120560" y="425022"/>
                  </a:cubicBezTo>
                  <a:cubicBezTo>
                    <a:pt x="131724" y="439171"/>
                    <a:pt x="144512" y="451959"/>
                    <a:pt x="158660" y="463122"/>
                  </a:cubicBezTo>
                  <a:cubicBezTo>
                    <a:pt x="167460" y="468957"/>
                    <a:pt x="171343" y="479907"/>
                    <a:pt x="168185" y="489983"/>
                  </a:cubicBezTo>
                  <a:cubicBezTo>
                    <a:pt x="166090" y="498079"/>
                    <a:pt x="164280" y="506270"/>
                    <a:pt x="162470" y="514938"/>
                  </a:cubicBezTo>
                  <a:cubicBezTo>
                    <a:pt x="161994" y="517415"/>
                    <a:pt x="161613" y="519510"/>
                    <a:pt x="161137" y="521701"/>
                  </a:cubicBezTo>
                  <a:close/>
                  <a:moveTo>
                    <a:pt x="537565" y="260621"/>
                  </a:moveTo>
                  <a:cubicBezTo>
                    <a:pt x="537565" y="260621"/>
                    <a:pt x="537565" y="261287"/>
                    <a:pt x="537565" y="261573"/>
                  </a:cubicBezTo>
                  <a:cubicBezTo>
                    <a:pt x="537565" y="261859"/>
                    <a:pt x="537660" y="260906"/>
                    <a:pt x="537565" y="260621"/>
                  </a:cubicBezTo>
                  <a:close/>
                  <a:moveTo>
                    <a:pt x="489940" y="144416"/>
                  </a:moveTo>
                  <a:lnTo>
                    <a:pt x="489940" y="144416"/>
                  </a:lnTo>
                  <a:close/>
                  <a:moveTo>
                    <a:pt x="98367" y="143273"/>
                  </a:moveTo>
                  <a:lnTo>
                    <a:pt x="97891" y="143939"/>
                  </a:lnTo>
                  <a:close/>
                  <a:moveTo>
                    <a:pt x="261721" y="49261"/>
                  </a:moveTo>
                  <a:lnTo>
                    <a:pt x="261721" y="49261"/>
                  </a:lnTo>
                  <a:close/>
                  <a:moveTo>
                    <a:pt x="234765" y="34878"/>
                  </a:moveTo>
                  <a:lnTo>
                    <a:pt x="233622" y="3487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6" name="Freeform: Shape 540">
              <a:extLst>
                <a:ext uri="{FF2B5EF4-FFF2-40B4-BE49-F238E27FC236}">
                  <a16:creationId xmlns:a16="http://schemas.microsoft.com/office/drawing/2014/main" id="{ABA856A4-458B-7E47-B055-5C98F1F70F42}"/>
                </a:ext>
              </a:extLst>
            </p:cNvPr>
            <p:cNvSpPr/>
            <p:nvPr/>
          </p:nvSpPr>
          <p:spPr>
            <a:xfrm>
              <a:off x="3268599" y="4990148"/>
              <a:ext cx="190500" cy="190500"/>
            </a:xfrm>
            <a:custGeom>
              <a:avLst/>
              <a:gdLst>
                <a:gd name="connsiteX0" fmla="*/ 98774 w 190500"/>
                <a:gd name="connsiteY0" fmla="*/ 190214 h 190500"/>
                <a:gd name="connsiteX1" fmla="*/ 7144 w 190500"/>
                <a:gd name="connsiteY1" fmla="*/ 98774 h 190500"/>
                <a:gd name="connsiteX2" fmla="*/ 98584 w 190500"/>
                <a:gd name="connsiteY2" fmla="*/ 7144 h 190500"/>
                <a:gd name="connsiteX3" fmla="*/ 190214 w 190500"/>
                <a:gd name="connsiteY3" fmla="*/ 98584 h 190500"/>
                <a:gd name="connsiteX4" fmla="*/ 190214 w 190500"/>
                <a:gd name="connsiteY4" fmla="*/ 98679 h 190500"/>
                <a:gd name="connsiteX5" fmla="*/ 98774 w 190500"/>
                <a:gd name="connsiteY5" fmla="*/ 190214 h 190500"/>
                <a:gd name="connsiteX6" fmla="*/ 98774 w 190500"/>
                <a:gd name="connsiteY6" fmla="*/ 35433 h 190500"/>
                <a:gd name="connsiteX7" fmla="*/ 35528 w 190500"/>
                <a:gd name="connsiteY7" fmla="*/ 98679 h 190500"/>
                <a:gd name="connsiteX8" fmla="*/ 98774 w 190500"/>
                <a:gd name="connsiteY8" fmla="*/ 161925 h 190500"/>
                <a:gd name="connsiteX9" fmla="*/ 162020 w 190500"/>
                <a:gd name="connsiteY9" fmla="*/ 98679 h 190500"/>
                <a:gd name="connsiteX10" fmla="*/ 98774 w 190500"/>
                <a:gd name="connsiteY10" fmla="*/ 35433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0500" h="190500">
                  <a:moveTo>
                    <a:pt x="98774" y="190214"/>
                  </a:moveTo>
                  <a:cubicBezTo>
                    <a:pt x="48221" y="190267"/>
                    <a:pt x="7196" y="149328"/>
                    <a:pt x="7144" y="98774"/>
                  </a:cubicBezTo>
                  <a:cubicBezTo>
                    <a:pt x="7091" y="48221"/>
                    <a:pt x="48030" y="7196"/>
                    <a:pt x="98584" y="7144"/>
                  </a:cubicBezTo>
                  <a:cubicBezTo>
                    <a:pt x="149137" y="7091"/>
                    <a:pt x="190162" y="48030"/>
                    <a:pt x="190214" y="98584"/>
                  </a:cubicBezTo>
                  <a:cubicBezTo>
                    <a:pt x="190214" y="98616"/>
                    <a:pt x="190214" y="98647"/>
                    <a:pt x="190214" y="98679"/>
                  </a:cubicBezTo>
                  <a:cubicBezTo>
                    <a:pt x="190214" y="149195"/>
                    <a:pt x="149291" y="190162"/>
                    <a:pt x="98774" y="190214"/>
                  </a:cubicBezTo>
                  <a:close/>
                  <a:moveTo>
                    <a:pt x="98774" y="35433"/>
                  </a:moveTo>
                  <a:cubicBezTo>
                    <a:pt x="63844" y="35433"/>
                    <a:pt x="35528" y="63749"/>
                    <a:pt x="35528" y="98679"/>
                  </a:cubicBezTo>
                  <a:cubicBezTo>
                    <a:pt x="35528" y="133609"/>
                    <a:pt x="63844" y="161925"/>
                    <a:pt x="98774" y="161925"/>
                  </a:cubicBezTo>
                  <a:cubicBezTo>
                    <a:pt x="133704" y="161925"/>
                    <a:pt x="162020" y="133609"/>
                    <a:pt x="162020" y="98679"/>
                  </a:cubicBezTo>
                  <a:cubicBezTo>
                    <a:pt x="162020" y="63749"/>
                    <a:pt x="133704" y="35433"/>
                    <a:pt x="98774" y="3543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7" name="Freeform: Shape 541">
              <a:extLst>
                <a:ext uri="{FF2B5EF4-FFF2-40B4-BE49-F238E27FC236}">
                  <a16:creationId xmlns:a16="http://schemas.microsoft.com/office/drawing/2014/main" id="{CA423F47-6F7B-F54E-BCAD-3CA6E247CDE3}"/>
                </a:ext>
              </a:extLst>
            </p:cNvPr>
            <p:cNvSpPr/>
            <p:nvPr/>
          </p:nvSpPr>
          <p:spPr>
            <a:xfrm>
              <a:off x="3513157" y="4564724"/>
              <a:ext cx="400050" cy="400050"/>
            </a:xfrm>
            <a:custGeom>
              <a:avLst/>
              <a:gdLst>
                <a:gd name="connsiteX0" fmla="*/ 193115 w 400050"/>
                <a:gd name="connsiteY0" fmla="*/ 397801 h 400050"/>
                <a:gd name="connsiteX1" fmla="*/ 191210 w 400050"/>
                <a:gd name="connsiteY1" fmla="*/ 397801 h 400050"/>
                <a:gd name="connsiteX2" fmla="*/ 146062 w 400050"/>
                <a:gd name="connsiteY2" fmla="*/ 389705 h 400050"/>
                <a:gd name="connsiteX3" fmla="*/ 133584 w 400050"/>
                <a:gd name="connsiteY3" fmla="*/ 385418 h 400050"/>
                <a:gd name="connsiteX4" fmla="*/ 131489 w 400050"/>
                <a:gd name="connsiteY4" fmla="*/ 384656 h 400050"/>
                <a:gd name="connsiteX5" fmla="*/ 122726 w 400050"/>
                <a:gd name="connsiteY5" fmla="*/ 371226 h 400050"/>
                <a:gd name="connsiteX6" fmla="*/ 123678 w 400050"/>
                <a:gd name="connsiteY6" fmla="*/ 346652 h 400050"/>
                <a:gd name="connsiteX7" fmla="*/ 96056 w 400050"/>
                <a:gd name="connsiteY7" fmla="*/ 327602 h 400050"/>
                <a:gd name="connsiteX8" fmla="*/ 75196 w 400050"/>
                <a:gd name="connsiteY8" fmla="*/ 337127 h 400050"/>
                <a:gd name="connsiteX9" fmla="*/ 56146 w 400050"/>
                <a:gd name="connsiteY9" fmla="*/ 333126 h 400050"/>
                <a:gd name="connsiteX10" fmla="*/ 23189 w 400050"/>
                <a:gd name="connsiteY10" fmla="*/ 281786 h 400050"/>
                <a:gd name="connsiteX11" fmla="*/ 26618 w 400050"/>
                <a:gd name="connsiteY11" fmla="*/ 265975 h 400050"/>
                <a:gd name="connsiteX12" fmla="*/ 35381 w 400050"/>
                <a:gd name="connsiteY12" fmla="*/ 258069 h 400050"/>
                <a:gd name="connsiteX13" fmla="*/ 44906 w 400050"/>
                <a:gd name="connsiteY13" fmla="*/ 249687 h 400050"/>
                <a:gd name="connsiteX14" fmla="*/ 44906 w 400050"/>
                <a:gd name="connsiteY14" fmla="*/ 249687 h 400050"/>
                <a:gd name="connsiteX15" fmla="*/ 38810 w 400050"/>
                <a:gd name="connsiteY15" fmla="*/ 216064 h 400050"/>
                <a:gd name="connsiteX16" fmla="*/ 16046 w 400050"/>
                <a:gd name="connsiteY16" fmla="*/ 206539 h 400050"/>
                <a:gd name="connsiteX17" fmla="*/ 7378 w 400050"/>
                <a:gd name="connsiteY17" fmla="*/ 191870 h 400050"/>
                <a:gd name="connsiteX18" fmla="*/ 8140 w 400050"/>
                <a:gd name="connsiteY18" fmla="*/ 183965 h 400050"/>
                <a:gd name="connsiteX19" fmla="*/ 9569 w 400050"/>
                <a:gd name="connsiteY19" fmla="*/ 172344 h 400050"/>
                <a:gd name="connsiteX20" fmla="*/ 19665 w 400050"/>
                <a:gd name="connsiteY20" fmla="*/ 133101 h 400050"/>
                <a:gd name="connsiteX21" fmla="*/ 34810 w 400050"/>
                <a:gd name="connsiteY21" fmla="*/ 123576 h 400050"/>
                <a:gd name="connsiteX22" fmla="*/ 58051 w 400050"/>
                <a:gd name="connsiteY22" fmla="*/ 124529 h 400050"/>
                <a:gd name="connsiteX23" fmla="*/ 60432 w 400050"/>
                <a:gd name="connsiteY23" fmla="*/ 120528 h 400050"/>
                <a:gd name="connsiteX24" fmla="*/ 77482 w 400050"/>
                <a:gd name="connsiteY24" fmla="*/ 96620 h 400050"/>
                <a:gd name="connsiteX25" fmla="*/ 72053 w 400050"/>
                <a:gd name="connsiteY25" fmla="*/ 84143 h 400050"/>
                <a:gd name="connsiteX26" fmla="*/ 68243 w 400050"/>
                <a:gd name="connsiteY26" fmla="*/ 74618 h 400050"/>
                <a:gd name="connsiteX27" fmla="*/ 72529 w 400050"/>
                <a:gd name="connsiteY27" fmla="*/ 55568 h 400050"/>
                <a:gd name="connsiteX28" fmla="*/ 103580 w 400050"/>
                <a:gd name="connsiteY28" fmla="*/ 33184 h 400050"/>
                <a:gd name="connsiteX29" fmla="*/ 122630 w 400050"/>
                <a:gd name="connsiteY29" fmla="*/ 23659 h 400050"/>
                <a:gd name="connsiteX30" fmla="*/ 139490 w 400050"/>
                <a:gd name="connsiteY30" fmla="*/ 27564 h 400050"/>
                <a:gd name="connsiteX31" fmla="*/ 145014 w 400050"/>
                <a:gd name="connsiteY31" fmla="*/ 33470 h 400050"/>
                <a:gd name="connsiteX32" fmla="*/ 155396 w 400050"/>
                <a:gd name="connsiteY32" fmla="*/ 44804 h 400050"/>
                <a:gd name="connsiteX33" fmla="*/ 188734 w 400050"/>
                <a:gd name="connsiteY33" fmla="*/ 38613 h 400050"/>
                <a:gd name="connsiteX34" fmla="*/ 191496 w 400050"/>
                <a:gd name="connsiteY34" fmla="*/ 31755 h 400050"/>
                <a:gd name="connsiteX35" fmla="*/ 197687 w 400050"/>
                <a:gd name="connsiteY35" fmla="*/ 16420 h 400050"/>
                <a:gd name="connsiteX36" fmla="*/ 212832 w 400050"/>
                <a:gd name="connsiteY36" fmla="*/ 7371 h 400050"/>
                <a:gd name="connsiteX37" fmla="*/ 220166 w 400050"/>
                <a:gd name="connsiteY37" fmla="*/ 8133 h 400050"/>
                <a:gd name="connsiteX38" fmla="*/ 240645 w 400050"/>
                <a:gd name="connsiteY38" fmla="*/ 10895 h 400050"/>
                <a:gd name="connsiteX39" fmla="*/ 271697 w 400050"/>
                <a:gd name="connsiteY39" fmla="*/ 19849 h 400050"/>
                <a:gd name="connsiteX40" fmla="*/ 281222 w 400050"/>
                <a:gd name="connsiteY40" fmla="*/ 34803 h 400050"/>
                <a:gd name="connsiteX41" fmla="*/ 280460 w 400050"/>
                <a:gd name="connsiteY41" fmla="*/ 51377 h 400050"/>
                <a:gd name="connsiteX42" fmla="*/ 280460 w 400050"/>
                <a:gd name="connsiteY42" fmla="*/ 58616 h 400050"/>
                <a:gd name="connsiteX43" fmla="*/ 308463 w 400050"/>
                <a:gd name="connsiteY43" fmla="*/ 77666 h 400050"/>
                <a:gd name="connsiteX44" fmla="*/ 340372 w 400050"/>
                <a:gd name="connsiteY44" fmla="*/ 64426 h 400050"/>
                <a:gd name="connsiteX45" fmla="*/ 345420 w 400050"/>
                <a:gd name="connsiteY45" fmla="*/ 70141 h 400050"/>
                <a:gd name="connsiteX46" fmla="*/ 348087 w 400050"/>
                <a:gd name="connsiteY46" fmla="*/ 73094 h 400050"/>
                <a:gd name="connsiteX47" fmla="*/ 352564 w 400050"/>
                <a:gd name="connsiteY47" fmla="*/ 78713 h 400050"/>
                <a:gd name="connsiteX48" fmla="*/ 360755 w 400050"/>
                <a:gd name="connsiteY48" fmla="*/ 89477 h 400050"/>
                <a:gd name="connsiteX49" fmla="*/ 380853 w 400050"/>
                <a:gd name="connsiteY49" fmla="*/ 124529 h 400050"/>
                <a:gd name="connsiteX50" fmla="*/ 376853 w 400050"/>
                <a:gd name="connsiteY50" fmla="*/ 140626 h 400050"/>
                <a:gd name="connsiteX51" fmla="*/ 371995 w 400050"/>
                <a:gd name="connsiteY51" fmla="*/ 145103 h 400050"/>
                <a:gd name="connsiteX52" fmla="*/ 359517 w 400050"/>
                <a:gd name="connsiteY52" fmla="*/ 156723 h 400050"/>
                <a:gd name="connsiteX53" fmla="*/ 365804 w 400050"/>
                <a:gd name="connsiteY53" fmla="*/ 189775 h 400050"/>
                <a:gd name="connsiteX54" fmla="*/ 397903 w 400050"/>
                <a:gd name="connsiteY54" fmla="*/ 201395 h 400050"/>
                <a:gd name="connsiteX55" fmla="*/ 397903 w 400050"/>
                <a:gd name="connsiteY55" fmla="*/ 210920 h 400050"/>
                <a:gd name="connsiteX56" fmla="*/ 385139 w 400050"/>
                <a:gd name="connsiteY56" fmla="*/ 272166 h 400050"/>
                <a:gd name="connsiteX57" fmla="*/ 371233 w 400050"/>
                <a:gd name="connsiteY57" fmla="*/ 281691 h 400050"/>
                <a:gd name="connsiteX58" fmla="*/ 361708 w 400050"/>
                <a:gd name="connsiteY58" fmla="*/ 281691 h 400050"/>
                <a:gd name="connsiteX59" fmla="*/ 346658 w 400050"/>
                <a:gd name="connsiteY59" fmla="*/ 280929 h 400050"/>
                <a:gd name="connsiteX60" fmla="*/ 327608 w 400050"/>
                <a:gd name="connsiteY60" fmla="*/ 308742 h 400050"/>
                <a:gd name="connsiteX61" fmla="*/ 330466 w 400050"/>
                <a:gd name="connsiteY61" fmla="*/ 315124 h 400050"/>
                <a:gd name="connsiteX62" fmla="*/ 337229 w 400050"/>
                <a:gd name="connsiteY62" fmla="*/ 330459 h 400050"/>
                <a:gd name="connsiteX63" fmla="*/ 338562 w 400050"/>
                <a:gd name="connsiteY63" fmla="*/ 339984 h 400050"/>
                <a:gd name="connsiteX64" fmla="*/ 333038 w 400050"/>
                <a:gd name="connsiteY64" fmla="*/ 348271 h 400050"/>
                <a:gd name="connsiteX65" fmla="*/ 327418 w 400050"/>
                <a:gd name="connsiteY65" fmla="*/ 352652 h 400050"/>
                <a:gd name="connsiteX66" fmla="*/ 312368 w 400050"/>
                <a:gd name="connsiteY66" fmla="*/ 364082 h 400050"/>
                <a:gd name="connsiteX67" fmla="*/ 281984 w 400050"/>
                <a:gd name="connsiteY67" fmla="*/ 380846 h 400050"/>
                <a:gd name="connsiteX68" fmla="*/ 264743 w 400050"/>
                <a:gd name="connsiteY68" fmla="*/ 377227 h 400050"/>
                <a:gd name="connsiteX69" fmla="*/ 249218 w 400050"/>
                <a:gd name="connsiteY69" fmla="*/ 359701 h 400050"/>
                <a:gd name="connsiteX70" fmla="*/ 240169 w 400050"/>
                <a:gd name="connsiteY70" fmla="*/ 362273 h 400050"/>
                <a:gd name="connsiteX71" fmla="*/ 215690 w 400050"/>
                <a:gd name="connsiteY71" fmla="*/ 365987 h 400050"/>
                <a:gd name="connsiteX72" fmla="*/ 206165 w 400050"/>
                <a:gd name="connsiteY72" fmla="*/ 388466 h 400050"/>
                <a:gd name="connsiteX73" fmla="*/ 193115 w 400050"/>
                <a:gd name="connsiteY73" fmla="*/ 397801 h 400050"/>
                <a:gd name="connsiteX74" fmla="*/ 144443 w 400050"/>
                <a:gd name="connsiteY74" fmla="*/ 365987 h 400050"/>
                <a:gd name="connsiteX75" fmla="*/ 152634 w 400050"/>
                <a:gd name="connsiteY75" fmla="*/ 368750 h 400050"/>
                <a:gd name="connsiteX76" fmla="*/ 188639 w 400050"/>
                <a:gd name="connsiteY76" fmla="*/ 375703 h 400050"/>
                <a:gd name="connsiteX77" fmla="*/ 195973 w 400050"/>
                <a:gd name="connsiteY77" fmla="*/ 357891 h 400050"/>
                <a:gd name="connsiteX78" fmla="*/ 198259 w 400050"/>
                <a:gd name="connsiteY78" fmla="*/ 352271 h 400050"/>
                <a:gd name="connsiteX79" fmla="*/ 207784 w 400050"/>
                <a:gd name="connsiteY79" fmla="*/ 344937 h 400050"/>
                <a:gd name="connsiteX80" fmla="*/ 208927 w 400050"/>
                <a:gd name="connsiteY80" fmla="*/ 344937 h 400050"/>
                <a:gd name="connsiteX81" fmla="*/ 234740 w 400050"/>
                <a:gd name="connsiteY81" fmla="*/ 341413 h 400050"/>
                <a:gd name="connsiteX82" fmla="*/ 246741 w 400050"/>
                <a:gd name="connsiteY82" fmla="*/ 337984 h 400050"/>
                <a:gd name="connsiteX83" fmla="*/ 261600 w 400050"/>
                <a:gd name="connsiteY83" fmla="*/ 341889 h 400050"/>
                <a:gd name="connsiteX84" fmla="*/ 277793 w 400050"/>
                <a:gd name="connsiteY84" fmla="*/ 359701 h 400050"/>
                <a:gd name="connsiteX85" fmla="*/ 300653 w 400050"/>
                <a:gd name="connsiteY85" fmla="*/ 346747 h 400050"/>
                <a:gd name="connsiteX86" fmla="*/ 314654 w 400050"/>
                <a:gd name="connsiteY86" fmla="*/ 336079 h 400050"/>
                <a:gd name="connsiteX87" fmla="*/ 316274 w 400050"/>
                <a:gd name="connsiteY87" fmla="*/ 334841 h 400050"/>
                <a:gd name="connsiteX88" fmla="*/ 311416 w 400050"/>
                <a:gd name="connsiteY88" fmla="*/ 323696 h 400050"/>
                <a:gd name="connsiteX89" fmla="*/ 307130 w 400050"/>
                <a:gd name="connsiteY89" fmla="*/ 314171 h 400050"/>
                <a:gd name="connsiteX90" fmla="*/ 308368 w 400050"/>
                <a:gd name="connsiteY90" fmla="*/ 299217 h 400050"/>
                <a:gd name="connsiteX91" fmla="*/ 329513 w 400050"/>
                <a:gd name="connsiteY91" fmla="*/ 269118 h 400050"/>
                <a:gd name="connsiteX92" fmla="*/ 347325 w 400050"/>
                <a:gd name="connsiteY92" fmla="*/ 259593 h 400050"/>
                <a:gd name="connsiteX93" fmla="*/ 363137 w 400050"/>
                <a:gd name="connsiteY93" fmla="*/ 260450 h 400050"/>
                <a:gd name="connsiteX94" fmla="*/ 367232 w 400050"/>
                <a:gd name="connsiteY94" fmla="*/ 260450 h 400050"/>
                <a:gd name="connsiteX95" fmla="*/ 376757 w 400050"/>
                <a:gd name="connsiteY95" fmla="*/ 216254 h 400050"/>
                <a:gd name="connsiteX96" fmla="*/ 352850 w 400050"/>
                <a:gd name="connsiteY96" fmla="*/ 207301 h 400050"/>
                <a:gd name="connsiteX97" fmla="*/ 344849 w 400050"/>
                <a:gd name="connsiteY97" fmla="*/ 195109 h 400050"/>
                <a:gd name="connsiteX98" fmla="*/ 337991 w 400050"/>
                <a:gd name="connsiteY98" fmla="*/ 158533 h 400050"/>
                <a:gd name="connsiteX99" fmla="*/ 342182 w 400050"/>
                <a:gd name="connsiteY99" fmla="*/ 143769 h 400050"/>
                <a:gd name="connsiteX100" fmla="*/ 357517 w 400050"/>
                <a:gd name="connsiteY100" fmla="*/ 129482 h 400050"/>
                <a:gd name="connsiteX101" fmla="*/ 359231 w 400050"/>
                <a:gd name="connsiteY101" fmla="*/ 127862 h 400050"/>
                <a:gd name="connsiteX102" fmla="*/ 343610 w 400050"/>
                <a:gd name="connsiteY102" fmla="*/ 101573 h 400050"/>
                <a:gd name="connsiteX103" fmla="*/ 335895 w 400050"/>
                <a:gd name="connsiteY103" fmla="*/ 92048 h 400050"/>
                <a:gd name="connsiteX104" fmla="*/ 334466 w 400050"/>
                <a:gd name="connsiteY104" fmla="*/ 90143 h 400050"/>
                <a:gd name="connsiteX105" fmla="*/ 313226 w 400050"/>
                <a:gd name="connsiteY105" fmla="*/ 99668 h 400050"/>
                <a:gd name="connsiteX106" fmla="*/ 299129 w 400050"/>
                <a:gd name="connsiteY106" fmla="*/ 98621 h 400050"/>
                <a:gd name="connsiteX107" fmla="*/ 267029 w 400050"/>
                <a:gd name="connsiteY107" fmla="*/ 76332 h 400050"/>
                <a:gd name="connsiteX108" fmla="*/ 259028 w 400050"/>
                <a:gd name="connsiteY108" fmla="*/ 62140 h 400050"/>
                <a:gd name="connsiteX109" fmla="*/ 259028 w 400050"/>
                <a:gd name="connsiteY109" fmla="*/ 51281 h 400050"/>
                <a:gd name="connsiteX110" fmla="*/ 259600 w 400050"/>
                <a:gd name="connsiteY110" fmla="*/ 38899 h 400050"/>
                <a:gd name="connsiteX111" fmla="*/ 236549 w 400050"/>
                <a:gd name="connsiteY111" fmla="*/ 32612 h 400050"/>
                <a:gd name="connsiteX112" fmla="*/ 217499 w 400050"/>
                <a:gd name="connsiteY112" fmla="*/ 30041 h 400050"/>
                <a:gd name="connsiteX113" fmla="*/ 215213 w 400050"/>
                <a:gd name="connsiteY113" fmla="*/ 30041 h 400050"/>
                <a:gd name="connsiteX114" fmla="*/ 210927 w 400050"/>
                <a:gd name="connsiteY114" fmla="*/ 40804 h 400050"/>
                <a:gd name="connsiteX115" fmla="*/ 207022 w 400050"/>
                <a:gd name="connsiteY115" fmla="*/ 50329 h 400050"/>
                <a:gd name="connsiteX116" fmla="*/ 193020 w 400050"/>
                <a:gd name="connsiteY116" fmla="*/ 60521 h 400050"/>
                <a:gd name="connsiteX117" fmla="*/ 157301 w 400050"/>
                <a:gd name="connsiteY117" fmla="*/ 67283 h 400050"/>
                <a:gd name="connsiteX118" fmla="*/ 141966 w 400050"/>
                <a:gd name="connsiteY118" fmla="*/ 62711 h 400050"/>
                <a:gd name="connsiteX119" fmla="*/ 129107 w 400050"/>
                <a:gd name="connsiteY119" fmla="*/ 48900 h 400050"/>
                <a:gd name="connsiteX120" fmla="*/ 126536 w 400050"/>
                <a:gd name="connsiteY120" fmla="*/ 46138 h 400050"/>
                <a:gd name="connsiteX121" fmla="*/ 113391 w 400050"/>
                <a:gd name="connsiteY121" fmla="*/ 52901 h 400050"/>
                <a:gd name="connsiteX122" fmla="*/ 88626 w 400050"/>
                <a:gd name="connsiteY122" fmla="*/ 70331 h 400050"/>
                <a:gd name="connsiteX123" fmla="*/ 90817 w 400050"/>
                <a:gd name="connsiteY123" fmla="*/ 75570 h 400050"/>
                <a:gd name="connsiteX124" fmla="*/ 97008 w 400050"/>
                <a:gd name="connsiteY124" fmla="*/ 89572 h 400050"/>
                <a:gd name="connsiteX125" fmla="*/ 94436 w 400050"/>
                <a:gd name="connsiteY125" fmla="*/ 108622 h 400050"/>
                <a:gd name="connsiteX126" fmla="*/ 78053 w 400050"/>
                <a:gd name="connsiteY126" fmla="*/ 131291 h 400050"/>
                <a:gd name="connsiteX127" fmla="*/ 74339 w 400050"/>
                <a:gd name="connsiteY127" fmla="*/ 137864 h 400050"/>
                <a:gd name="connsiteX128" fmla="*/ 59765 w 400050"/>
                <a:gd name="connsiteY128" fmla="*/ 145769 h 400050"/>
                <a:gd name="connsiteX129" fmla="*/ 37382 w 400050"/>
                <a:gd name="connsiteY129" fmla="*/ 144817 h 400050"/>
                <a:gd name="connsiteX130" fmla="*/ 30143 w 400050"/>
                <a:gd name="connsiteY130" fmla="*/ 174725 h 400050"/>
                <a:gd name="connsiteX131" fmla="*/ 28904 w 400050"/>
                <a:gd name="connsiteY131" fmla="*/ 185489 h 400050"/>
                <a:gd name="connsiteX132" fmla="*/ 28904 w 400050"/>
                <a:gd name="connsiteY132" fmla="*/ 188156 h 400050"/>
                <a:gd name="connsiteX133" fmla="*/ 50336 w 400050"/>
                <a:gd name="connsiteY133" fmla="*/ 196728 h 400050"/>
                <a:gd name="connsiteX134" fmla="*/ 59861 w 400050"/>
                <a:gd name="connsiteY134" fmla="*/ 209111 h 400050"/>
                <a:gd name="connsiteX135" fmla="*/ 65480 w 400050"/>
                <a:gd name="connsiteY135" fmla="*/ 242353 h 400050"/>
                <a:gd name="connsiteX136" fmla="*/ 66814 w 400050"/>
                <a:gd name="connsiteY136" fmla="*/ 246163 h 400050"/>
                <a:gd name="connsiteX137" fmla="*/ 62909 w 400050"/>
                <a:gd name="connsiteY137" fmla="*/ 261498 h 400050"/>
                <a:gd name="connsiteX138" fmla="*/ 50336 w 400050"/>
                <a:gd name="connsiteY138" fmla="*/ 272833 h 400050"/>
                <a:gd name="connsiteX139" fmla="*/ 45478 w 400050"/>
                <a:gd name="connsiteY139" fmla="*/ 277119 h 400050"/>
                <a:gd name="connsiteX140" fmla="*/ 70338 w 400050"/>
                <a:gd name="connsiteY140" fmla="*/ 315219 h 400050"/>
                <a:gd name="connsiteX141" fmla="*/ 91484 w 400050"/>
                <a:gd name="connsiteY141" fmla="*/ 305694 h 400050"/>
                <a:gd name="connsiteX142" fmla="*/ 106057 w 400050"/>
                <a:gd name="connsiteY142" fmla="*/ 306742 h 400050"/>
                <a:gd name="connsiteX143" fmla="*/ 135775 w 400050"/>
                <a:gd name="connsiteY143" fmla="*/ 327697 h 400050"/>
                <a:gd name="connsiteX144" fmla="*/ 145300 w 400050"/>
                <a:gd name="connsiteY144" fmla="*/ 346747 h 400050"/>
                <a:gd name="connsiteX145" fmla="*/ 144443 w 400050"/>
                <a:gd name="connsiteY145" fmla="*/ 365987 h 400050"/>
                <a:gd name="connsiteX146" fmla="*/ 138251 w 400050"/>
                <a:gd name="connsiteY146" fmla="*/ 363797 h 400050"/>
                <a:gd name="connsiteX147" fmla="*/ 139394 w 400050"/>
                <a:gd name="connsiteY147" fmla="*/ 363797 h 400050"/>
                <a:gd name="connsiteX148" fmla="*/ 124345 w 400050"/>
                <a:gd name="connsiteY148" fmla="*/ 343413 h 400050"/>
                <a:gd name="connsiteX149" fmla="*/ 124345 w 400050"/>
                <a:gd name="connsiteY149" fmla="*/ 343413 h 400050"/>
                <a:gd name="connsiteX150" fmla="*/ 348563 w 400050"/>
                <a:gd name="connsiteY150" fmla="*/ 277976 h 400050"/>
                <a:gd name="connsiteX151" fmla="*/ 348563 w 400050"/>
                <a:gd name="connsiteY151" fmla="*/ 277976 h 400050"/>
                <a:gd name="connsiteX152" fmla="*/ 28523 w 400050"/>
                <a:gd name="connsiteY152" fmla="*/ 193680 h 400050"/>
                <a:gd name="connsiteX153" fmla="*/ 28523 w 400050"/>
                <a:gd name="connsiteY153" fmla="*/ 194537 h 400050"/>
                <a:gd name="connsiteX154" fmla="*/ 28142 w 400050"/>
                <a:gd name="connsiteY154" fmla="*/ 193680 h 400050"/>
                <a:gd name="connsiteX155" fmla="*/ 361898 w 400050"/>
                <a:gd name="connsiteY155" fmla="*/ 187870 h 400050"/>
                <a:gd name="connsiteX156" fmla="*/ 362660 w 400050"/>
                <a:gd name="connsiteY156" fmla="*/ 187870 h 400050"/>
                <a:gd name="connsiteX157" fmla="*/ 358469 w 400050"/>
                <a:gd name="connsiteY157" fmla="*/ 151580 h 400050"/>
                <a:gd name="connsiteX158" fmla="*/ 358469 w 400050"/>
                <a:gd name="connsiteY158" fmla="*/ 152342 h 400050"/>
                <a:gd name="connsiteX159" fmla="*/ 55670 w 400050"/>
                <a:gd name="connsiteY159" fmla="*/ 127386 h 400050"/>
                <a:gd name="connsiteX160" fmla="*/ 55670 w 400050"/>
                <a:gd name="connsiteY160" fmla="*/ 127386 h 400050"/>
                <a:gd name="connsiteX161" fmla="*/ 363518 w 400050"/>
                <a:gd name="connsiteY161" fmla="*/ 123671 h 400050"/>
                <a:gd name="connsiteX162" fmla="*/ 362946 w 400050"/>
                <a:gd name="connsiteY162" fmla="*/ 124148 h 400050"/>
                <a:gd name="connsiteX163" fmla="*/ 362946 w 400050"/>
                <a:gd name="connsiteY163" fmla="*/ 124148 h 400050"/>
                <a:gd name="connsiteX164" fmla="*/ 364089 w 400050"/>
                <a:gd name="connsiteY164" fmla="*/ 123671 h 400050"/>
                <a:gd name="connsiteX165" fmla="*/ 364089 w 400050"/>
                <a:gd name="connsiteY165" fmla="*/ 123671 h 400050"/>
                <a:gd name="connsiteX166" fmla="*/ 150920 w 400050"/>
                <a:gd name="connsiteY166" fmla="*/ 46519 h 400050"/>
                <a:gd name="connsiteX167" fmla="*/ 150920 w 400050"/>
                <a:gd name="connsiteY167" fmla="*/ 46519 h 400050"/>
                <a:gd name="connsiteX168" fmla="*/ 209689 w 400050"/>
                <a:gd name="connsiteY168" fmla="*/ 28898 h 400050"/>
                <a:gd name="connsiteX169" fmla="*/ 209689 w 400050"/>
                <a:gd name="connsiteY169" fmla="*/ 28898 h 400050"/>
                <a:gd name="connsiteX170" fmla="*/ 217404 w 400050"/>
                <a:gd name="connsiteY170" fmla="*/ 24040 h 400050"/>
                <a:gd name="connsiteX171" fmla="*/ 217404 w 400050"/>
                <a:gd name="connsiteY171" fmla="*/ 24040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</a:cxnLst>
              <a:rect l="l" t="t" r="r" b="b"/>
              <a:pathLst>
                <a:path w="400050" h="400050">
                  <a:moveTo>
                    <a:pt x="193115" y="397801"/>
                  </a:moveTo>
                  <a:lnTo>
                    <a:pt x="191210" y="397801"/>
                  </a:lnTo>
                  <a:cubicBezTo>
                    <a:pt x="175902" y="396830"/>
                    <a:pt x="160754" y="394113"/>
                    <a:pt x="146062" y="389705"/>
                  </a:cubicBezTo>
                  <a:cubicBezTo>
                    <a:pt x="141871" y="388371"/>
                    <a:pt x="137585" y="386847"/>
                    <a:pt x="133584" y="385418"/>
                  </a:cubicBezTo>
                  <a:lnTo>
                    <a:pt x="131489" y="384656"/>
                  </a:lnTo>
                  <a:cubicBezTo>
                    <a:pt x="125792" y="382772"/>
                    <a:pt x="122156" y="377199"/>
                    <a:pt x="122726" y="371226"/>
                  </a:cubicBezTo>
                  <a:cubicBezTo>
                    <a:pt x="122726" y="363225"/>
                    <a:pt x="122726" y="355034"/>
                    <a:pt x="123678" y="346652"/>
                  </a:cubicBezTo>
                  <a:cubicBezTo>
                    <a:pt x="113856" y="341242"/>
                    <a:pt x="104602" y="334860"/>
                    <a:pt x="96056" y="327602"/>
                  </a:cubicBezTo>
                  <a:lnTo>
                    <a:pt x="75196" y="337127"/>
                  </a:lnTo>
                  <a:cubicBezTo>
                    <a:pt x="68826" y="341255"/>
                    <a:pt x="60318" y="339468"/>
                    <a:pt x="56146" y="333126"/>
                  </a:cubicBezTo>
                  <a:cubicBezTo>
                    <a:pt x="42536" y="317847"/>
                    <a:pt x="31414" y="300522"/>
                    <a:pt x="23189" y="281786"/>
                  </a:cubicBezTo>
                  <a:cubicBezTo>
                    <a:pt x="20419" y="276372"/>
                    <a:pt x="21854" y="269755"/>
                    <a:pt x="26618" y="265975"/>
                  </a:cubicBezTo>
                  <a:lnTo>
                    <a:pt x="35381" y="258069"/>
                  </a:lnTo>
                  <a:lnTo>
                    <a:pt x="44906" y="249687"/>
                  </a:lnTo>
                  <a:lnTo>
                    <a:pt x="44906" y="249687"/>
                  </a:lnTo>
                  <a:cubicBezTo>
                    <a:pt x="41818" y="238697"/>
                    <a:pt x="39777" y="227439"/>
                    <a:pt x="38810" y="216064"/>
                  </a:cubicBezTo>
                  <a:lnTo>
                    <a:pt x="16046" y="206539"/>
                  </a:lnTo>
                  <a:cubicBezTo>
                    <a:pt x="9867" y="204540"/>
                    <a:pt x="6148" y="198247"/>
                    <a:pt x="7378" y="191870"/>
                  </a:cubicBezTo>
                  <a:cubicBezTo>
                    <a:pt x="7378" y="189680"/>
                    <a:pt x="7378" y="186822"/>
                    <a:pt x="8140" y="183965"/>
                  </a:cubicBezTo>
                  <a:cubicBezTo>
                    <a:pt x="8902" y="181107"/>
                    <a:pt x="8997" y="176154"/>
                    <a:pt x="9569" y="172344"/>
                  </a:cubicBezTo>
                  <a:cubicBezTo>
                    <a:pt x="11413" y="158918"/>
                    <a:pt x="14801" y="145750"/>
                    <a:pt x="19665" y="133101"/>
                  </a:cubicBezTo>
                  <a:cubicBezTo>
                    <a:pt x="21441" y="126450"/>
                    <a:pt x="28046" y="122296"/>
                    <a:pt x="34810" y="123576"/>
                  </a:cubicBezTo>
                  <a:lnTo>
                    <a:pt x="58051" y="124529"/>
                  </a:lnTo>
                  <a:cubicBezTo>
                    <a:pt x="58908" y="123195"/>
                    <a:pt x="59670" y="121862"/>
                    <a:pt x="60432" y="120528"/>
                  </a:cubicBezTo>
                  <a:cubicBezTo>
                    <a:pt x="65429" y="112091"/>
                    <a:pt x="71133" y="104093"/>
                    <a:pt x="77482" y="96620"/>
                  </a:cubicBezTo>
                  <a:cubicBezTo>
                    <a:pt x="75577" y="92525"/>
                    <a:pt x="73767" y="88334"/>
                    <a:pt x="72053" y="84143"/>
                  </a:cubicBezTo>
                  <a:lnTo>
                    <a:pt x="68243" y="74618"/>
                  </a:lnTo>
                  <a:cubicBezTo>
                    <a:pt x="64330" y="68146"/>
                    <a:pt x="66222" y="59740"/>
                    <a:pt x="72529" y="55568"/>
                  </a:cubicBezTo>
                  <a:cubicBezTo>
                    <a:pt x="82042" y="47009"/>
                    <a:pt x="92453" y="39504"/>
                    <a:pt x="103580" y="33184"/>
                  </a:cubicBezTo>
                  <a:cubicBezTo>
                    <a:pt x="110057" y="29564"/>
                    <a:pt x="116725" y="26421"/>
                    <a:pt x="122630" y="23659"/>
                  </a:cubicBezTo>
                  <a:cubicBezTo>
                    <a:pt x="128429" y="20511"/>
                    <a:pt x="135665" y="22187"/>
                    <a:pt x="139490" y="27564"/>
                  </a:cubicBezTo>
                  <a:lnTo>
                    <a:pt x="145014" y="33470"/>
                  </a:lnTo>
                  <a:cubicBezTo>
                    <a:pt x="148538" y="37375"/>
                    <a:pt x="151967" y="41185"/>
                    <a:pt x="155396" y="44804"/>
                  </a:cubicBezTo>
                  <a:cubicBezTo>
                    <a:pt x="166285" y="41678"/>
                    <a:pt x="177449" y="39604"/>
                    <a:pt x="188734" y="38613"/>
                  </a:cubicBezTo>
                  <a:lnTo>
                    <a:pt x="191496" y="31755"/>
                  </a:lnTo>
                  <a:cubicBezTo>
                    <a:pt x="193592" y="26612"/>
                    <a:pt x="195687" y="21563"/>
                    <a:pt x="197687" y="16420"/>
                  </a:cubicBezTo>
                  <a:cubicBezTo>
                    <a:pt x="199734" y="10018"/>
                    <a:pt x="206225" y="6140"/>
                    <a:pt x="212832" y="7371"/>
                  </a:cubicBezTo>
                  <a:lnTo>
                    <a:pt x="220166" y="8133"/>
                  </a:lnTo>
                  <a:cubicBezTo>
                    <a:pt x="226834" y="8895"/>
                    <a:pt x="233692" y="9657"/>
                    <a:pt x="240645" y="10895"/>
                  </a:cubicBezTo>
                  <a:cubicBezTo>
                    <a:pt x="251263" y="12861"/>
                    <a:pt x="261663" y="15859"/>
                    <a:pt x="271697" y="19849"/>
                  </a:cubicBezTo>
                  <a:cubicBezTo>
                    <a:pt x="278025" y="21932"/>
                    <a:pt x="282009" y="28187"/>
                    <a:pt x="281222" y="34803"/>
                  </a:cubicBezTo>
                  <a:cubicBezTo>
                    <a:pt x="281222" y="40328"/>
                    <a:pt x="280650" y="45852"/>
                    <a:pt x="280460" y="51377"/>
                  </a:cubicBezTo>
                  <a:lnTo>
                    <a:pt x="280460" y="58616"/>
                  </a:lnTo>
                  <a:cubicBezTo>
                    <a:pt x="290385" y="64050"/>
                    <a:pt x="299763" y="70430"/>
                    <a:pt x="308463" y="77666"/>
                  </a:cubicBezTo>
                  <a:lnTo>
                    <a:pt x="340372" y="64426"/>
                  </a:lnTo>
                  <a:lnTo>
                    <a:pt x="345420" y="70141"/>
                  </a:lnTo>
                  <a:cubicBezTo>
                    <a:pt x="346754" y="71570"/>
                    <a:pt x="347516" y="72332"/>
                    <a:pt x="348087" y="73094"/>
                  </a:cubicBezTo>
                  <a:lnTo>
                    <a:pt x="352564" y="78713"/>
                  </a:lnTo>
                  <a:cubicBezTo>
                    <a:pt x="355326" y="82238"/>
                    <a:pt x="358184" y="85762"/>
                    <a:pt x="360755" y="89477"/>
                  </a:cubicBezTo>
                  <a:cubicBezTo>
                    <a:pt x="368805" y="100333"/>
                    <a:pt x="375550" y="112098"/>
                    <a:pt x="380853" y="124529"/>
                  </a:cubicBezTo>
                  <a:cubicBezTo>
                    <a:pt x="383540" y="130161"/>
                    <a:pt x="381863" y="136907"/>
                    <a:pt x="376853" y="140626"/>
                  </a:cubicBezTo>
                  <a:lnTo>
                    <a:pt x="371995" y="145103"/>
                  </a:lnTo>
                  <a:lnTo>
                    <a:pt x="359517" y="156723"/>
                  </a:lnTo>
                  <a:cubicBezTo>
                    <a:pt x="362628" y="167523"/>
                    <a:pt x="364733" y="178587"/>
                    <a:pt x="365804" y="189775"/>
                  </a:cubicBezTo>
                  <a:lnTo>
                    <a:pt x="397903" y="201395"/>
                  </a:lnTo>
                  <a:lnTo>
                    <a:pt x="397903" y="210920"/>
                  </a:lnTo>
                  <a:cubicBezTo>
                    <a:pt x="396810" y="231869"/>
                    <a:pt x="392506" y="252525"/>
                    <a:pt x="385139" y="272166"/>
                  </a:cubicBezTo>
                  <a:cubicBezTo>
                    <a:pt x="383451" y="278311"/>
                    <a:pt x="377572" y="282337"/>
                    <a:pt x="371233" y="281691"/>
                  </a:cubicBezTo>
                  <a:lnTo>
                    <a:pt x="361708" y="281691"/>
                  </a:lnTo>
                  <a:lnTo>
                    <a:pt x="346658" y="280929"/>
                  </a:lnTo>
                  <a:cubicBezTo>
                    <a:pt x="341217" y="290791"/>
                    <a:pt x="334837" y="300105"/>
                    <a:pt x="327608" y="308742"/>
                  </a:cubicBezTo>
                  <a:lnTo>
                    <a:pt x="330466" y="315124"/>
                  </a:lnTo>
                  <a:cubicBezTo>
                    <a:pt x="332657" y="320267"/>
                    <a:pt x="334943" y="325411"/>
                    <a:pt x="337229" y="330459"/>
                  </a:cubicBezTo>
                  <a:cubicBezTo>
                    <a:pt x="338843" y="333358"/>
                    <a:pt x="339318" y="336754"/>
                    <a:pt x="338562" y="339984"/>
                  </a:cubicBezTo>
                  <a:cubicBezTo>
                    <a:pt x="337833" y="343345"/>
                    <a:pt x="335859" y="346305"/>
                    <a:pt x="333038" y="348271"/>
                  </a:cubicBezTo>
                  <a:lnTo>
                    <a:pt x="327418" y="352652"/>
                  </a:lnTo>
                  <a:cubicBezTo>
                    <a:pt x="322465" y="356558"/>
                    <a:pt x="317893" y="360463"/>
                    <a:pt x="312368" y="364082"/>
                  </a:cubicBezTo>
                  <a:cubicBezTo>
                    <a:pt x="302797" y="370626"/>
                    <a:pt x="292623" y="376239"/>
                    <a:pt x="281984" y="380846"/>
                  </a:cubicBezTo>
                  <a:cubicBezTo>
                    <a:pt x="276167" y="384286"/>
                    <a:pt x="268686" y="382715"/>
                    <a:pt x="264743" y="377227"/>
                  </a:cubicBezTo>
                  <a:lnTo>
                    <a:pt x="249218" y="359701"/>
                  </a:lnTo>
                  <a:cubicBezTo>
                    <a:pt x="246265" y="360653"/>
                    <a:pt x="243217" y="361511"/>
                    <a:pt x="240169" y="362273"/>
                  </a:cubicBezTo>
                  <a:cubicBezTo>
                    <a:pt x="232120" y="364154"/>
                    <a:pt x="223935" y="365396"/>
                    <a:pt x="215690" y="365987"/>
                  </a:cubicBezTo>
                  <a:lnTo>
                    <a:pt x="206165" y="388466"/>
                  </a:lnTo>
                  <a:cubicBezTo>
                    <a:pt x="204229" y="394026"/>
                    <a:pt x="199003" y="397765"/>
                    <a:pt x="193115" y="397801"/>
                  </a:cubicBezTo>
                  <a:close/>
                  <a:moveTo>
                    <a:pt x="144443" y="365987"/>
                  </a:moveTo>
                  <a:cubicBezTo>
                    <a:pt x="147123" y="367050"/>
                    <a:pt x="149857" y="367972"/>
                    <a:pt x="152634" y="368750"/>
                  </a:cubicBezTo>
                  <a:cubicBezTo>
                    <a:pt x="164363" y="372308"/>
                    <a:pt x="176429" y="374638"/>
                    <a:pt x="188639" y="375703"/>
                  </a:cubicBezTo>
                  <a:lnTo>
                    <a:pt x="195973" y="357891"/>
                  </a:lnTo>
                  <a:cubicBezTo>
                    <a:pt x="196636" y="355979"/>
                    <a:pt x="197399" y="354103"/>
                    <a:pt x="198259" y="352271"/>
                  </a:cubicBezTo>
                  <a:cubicBezTo>
                    <a:pt x="200039" y="348412"/>
                    <a:pt x="203598" y="345671"/>
                    <a:pt x="207784" y="344937"/>
                  </a:cubicBezTo>
                  <a:lnTo>
                    <a:pt x="208927" y="344937"/>
                  </a:lnTo>
                  <a:cubicBezTo>
                    <a:pt x="217622" y="344573"/>
                    <a:pt x="226265" y="343393"/>
                    <a:pt x="234740" y="341413"/>
                  </a:cubicBezTo>
                  <a:cubicBezTo>
                    <a:pt x="238645" y="340460"/>
                    <a:pt x="242741" y="339222"/>
                    <a:pt x="246741" y="337984"/>
                  </a:cubicBezTo>
                  <a:cubicBezTo>
                    <a:pt x="252022" y="336015"/>
                    <a:pt x="257970" y="337578"/>
                    <a:pt x="261600" y="341889"/>
                  </a:cubicBezTo>
                  <a:lnTo>
                    <a:pt x="277793" y="359701"/>
                  </a:lnTo>
                  <a:cubicBezTo>
                    <a:pt x="285749" y="356006"/>
                    <a:pt x="293394" y="351674"/>
                    <a:pt x="300653" y="346747"/>
                  </a:cubicBezTo>
                  <a:cubicBezTo>
                    <a:pt x="305415" y="343413"/>
                    <a:pt x="310178" y="339794"/>
                    <a:pt x="314654" y="336079"/>
                  </a:cubicBezTo>
                  <a:lnTo>
                    <a:pt x="316274" y="334841"/>
                  </a:lnTo>
                  <a:lnTo>
                    <a:pt x="311416" y="323696"/>
                  </a:lnTo>
                  <a:lnTo>
                    <a:pt x="307130" y="314171"/>
                  </a:lnTo>
                  <a:cubicBezTo>
                    <a:pt x="304319" y="309431"/>
                    <a:pt x="304816" y="303431"/>
                    <a:pt x="308368" y="299217"/>
                  </a:cubicBezTo>
                  <a:cubicBezTo>
                    <a:pt x="316558" y="290037"/>
                    <a:pt x="323654" y="279936"/>
                    <a:pt x="329513" y="269118"/>
                  </a:cubicBezTo>
                  <a:cubicBezTo>
                    <a:pt x="332729" y="262389"/>
                    <a:pt x="339944" y="258531"/>
                    <a:pt x="347325" y="259593"/>
                  </a:cubicBezTo>
                  <a:cubicBezTo>
                    <a:pt x="352564" y="259593"/>
                    <a:pt x="357803" y="260260"/>
                    <a:pt x="363137" y="260450"/>
                  </a:cubicBezTo>
                  <a:lnTo>
                    <a:pt x="367232" y="260450"/>
                  </a:lnTo>
                  <a:cubicBezTo>
                    <a:pt x="372251" y="246177"/>
                    <a:pt x="375451" y="231328"/>
                    <a:pt x="376757" y="216254"/>
                  </a:cubicBezTo>
                  <a:lnTo>
                    <a:pt x="352850" y="207301"/>
                  </a:lnTo>
                  <a:cubicBezTo>
                    <a:pt x="348016" y="205165"/>
                    <a:pt x="344885" y="200393"/>
                    <a:pt x="344849" y="195109"/>
                  </a:cubicBezTo>
                  <a:cubicBezTo>
                    <a:pt x="344058" y="182683"/>
                    <a:pt x="341755" y="170401"/>
                    <a:pt x="337991" y="158533"/>
                  </a:cubicBezTo>
                  <a:cubicBezTo>
                    <a:pt x="336161" y="153219"/>
                    <a:pt x="337834" y="147329"/>
                    <a:pt x="342182" y="143769"/>
                  </a:cubicBezTo>
                  <a:lnTo>
                    <a:pt x="357517" y="129482"/>
                  </a:lnTo>
                  <a:lnTo>
                    <a:pt x="359231" y="127862"/>
                  </a:lnTo>
                  <a:cubicBezTo>
                    <a:pt x="354865" y="118626"/>
                    <a:pt x="349635" y="109824"/>
                    <a:pt x="343610" y="101573"/>
                  </a:cubicBezTo>
                  <a:cubicBezTo>
                    <a:pt x="341134" y="98144"/>
                    <a:pt x="338562" y="94969"/>
                    <a:pt x="335895" y="92048"/>
                  </a:cubicBezTo>
                  <a:lnTo>
                    <a:pt x="334466" y="90143"/>
                  </a:lnTo>
                  <a:lnTo>
                    <a:pt x="313226" y="99668"/>
                  </a:lnTo>
                  <a:cubicBezTo>
                    <a:pt x="308739" y="102165"/>
                    <a:pt x="303197" y="101753"/>
                    <a:pt x="299129" y="98621"/>
                  </a:cubicBezTo>
                  <a:cubicBezTo>
                    <a:pt x="289368" y="89922"/>
                    <a:pt x="278590" y="82438"/>
                    <a:pt x="267029" y="76332"/>
                  </a:cubicBezTo>
                  <a:cubicBezTo>
                    <a:pt x="261601" y="73800"/>
                    <a:pt x="258385" y="68095"/>
                    <a:pt x="259028" y="62140"/>
                  </a:cubicBezTo>
                  <a:lnTo>
                    <a:pt x="259028" y="51281"/>
                  </a:lnTo>
                  <a:lnTo>
                    <a:pt x="259600" y="38899"/>
                  </a:lnTo>
                  <a:cubicBezTo>
                    <a:pt x="252110" y="36150"/>
                    <a:pt x="244398" y="34047"/>
                    <a:pt x="236549" y="32612"/>
                  </a:cubicBezTo>
                  <a:cubicBezTo>
                    <a:pt x="230358" y="31469"/>
                    <a:pt x="224072" y="30803"/>
                    <a:pt x="217499" y="30041"/>
                  </a:cubicBezTo>
                  <a:lnTo>
                    <a:pt x="215213" y="30041"/>
                  </a:lnTo>
                  <a:cubicBezTo>
                    <a:pt x="213785" y="33755"/>
                    <a:pt x="212356" y="37280"/>
                    <a:pt x="210927" y="40804"/>
                  </a:cubicBezTo>
                  <a:lnTo>
                    <a:pt x="207022" y="50329"/>
                  </a:lnTo>
                  <a:cubicBezTo>
                    <a:pt x="204997" y="56358"/>
                    <a:pt x="199380" y="60446"/>
                    <a:pt x="193020" y="60521"/>
                  </a:cubicBezTo>
                  <a:cubicBezTo>
                    <a:pt x="180881" y="61298"/>
                    <a:pt x="168884" y="63569"/>
                    <a:pt x="157301" y="67283"/>
                  </a:cubicBezTo>
                  <a:cubicBezTo>
                    <a:pt x="151738" y="69178"/>
                    <a:pt x="145584" y="67343"/>
                    <a:pt x="141966" y="62711"/>
                  </a:cubicBezTo>
                  <a:cubicBezTo>
                    <a:pt x="137680" y="58235"/>
                    <a:pt x="133298" y="53186"/>
                    <a:pt x="129107" y="48900"/>
                  </a:cubicBezTo>
                  <a:lnTo>
                    <a:pt x="126536" y="46138"/>
                  </a:lnTo>
                  <a:cubicBezTo>
                    <a:pt x="122345" y="48138"/>
                    <a:pt x="117773" y="50424"/>
                    <a:pt x="113391" y="52901"/>
                  </a:cubicBezTo>
                  <a:cubicBezTo>
                    <a:pt x="104586" y="57886"/>
                    <a:pt x="96291" y="63725"/>
                    <a:pt x="88626" y="70331"/>
                  </a:cubicBezTo>
                  <a:lnTo>
                    <a:pt x="90817" y="75570"/>
                  </a:lnTo>
                  <a:cubicBezTo>
                    <a:pt x="92912" y="80237"/>
                    <a:pt x="94913" y="85095"/>
                    <a:pt x="97008" y="89572"/>
                  </a:cubicBezTo>
                  <a:cubicBezTo>
                    <a:pt x="100485" y="95787"/>
                    <a:pt x="99437" y="103551"/>
                    <a:pt x="94436" y="108622"/>
                  </a:cubicBezTo>
                  <a:cubicBezTo>
                    <a:pt x="88322" y="115684"/>
                    <a:pt x="82840" y="123269"/>
                    <a:pt x="78053" y="131291"/>
                  </a:cubicBezTo>
                  <a:cubicBezTo>
                    <a:pt x="76720" y="133482"/>
                    <a:pt x="75482" y="135578"/>
                    <a:pt x="74339" y="137864"/>
                  </a:cubicBezTo>
                  <a:cubicBezTo>
                    <a:pt x="71579" y="143255"/>
                    <a:pt x="65789" y="146395"/>
                    <a:pt x="59765" y="145769"/>
                  </a:cubicBezTo>
                  <a:lnTo>
                    <a:pt x="37382" y="144817"/>
                  </a:lnTo>
                  <a:cubicBezTo>
                    <a:pt x="34036" y="154537"/>
                    <a:pt x="31613" y="164551"/>
                    <a:pt x="30143" y="174725"/>
                  </a:cubicBezTo>
                  <a:cubicBezTo>
                    <a:pt x="29666" y="178250"/>
                    <a:pt x="29285" y="181869"/>
                    <a:pt x="28904" y="185489"/>
                  </a:cubicBezTo>
                  <a:lnTo>
                    <a:pt x="28904" y="188156"/>
                  </a:lnTo>
                  <a:lnTo>
                    <a:pt x="50336" y="196728"/>
                  </a:lnTo>
                  <a:cubicBezTo>
                    <a:pt x="55849" y="198369"/>
                    <a:pt x="59689" y="203361"/>
                    <a:pt x="59861" y="209111"/>
                  </a:cubicBezTo>
                  <a:cubicBezTo>
                    <a:pt x="60633" y="220350"/>
                    <a:pt x="62515" y="231485"/>
                    <a:pt x="65480" y="242353"/>
                  </a:cubicBezTo>
                  <a:lnTo>
                    <a:pt x="66814" y="246163"/>
                  </a:lnTo>
                  <a:cubicBezTo>
                    <a:pt x="69046" y="251576"/>
                    <a:pt x="67458" y="257812"/>
                    <a:pt x="62909" y="261498"/>
                  </a:cubicBezTo>
                  <a:lnTo>
                    <a:pt x="50336" y="272833"/>
                  </a:lnTo>
                  <a:lnTo>
                    <a:pt x="45478" y="277119"/>
                  </a:lnTo>
                  <a:cubicBezTo>
                    <a:pt x="52129" y="290814"/>
                    <a:pt x="60482" y="303615"/>
                    <a:pt x="70338" y="315219"/>
                  </a:cubicBezTo>
                  <a:lnTo>
                    <a:pt x="91484" y="305694"/>
                  </a:lnTo>
                  <a:cubicBezTo>
                    <a:pt x="96074" y="302925"/>
                    <a:pt x="101910" y="303344"/>
                    <a:pt x="106057" y="306742"/>
                  </a:cubicBezTo>
                  <a:cubicBezTo>
                    <a:pt x="115069" y="314915"/>
                    <a:pt x="125050" y="321952"/>
                    <a:pt x="135775" y="327697"/>
                  </a:cubicBezTo>
                  <a:cubicBezTo>
                    <a:pt x="143067" y="330983"/>
                    <a:pt x="147046" y="338941"/>
                    <a:pt x="145300" y="346747"/>
                  </a:cubicBezTo>
                  <a:cubicBezTo>
                    <a:pt x="144611" y="353136"/>
                    <a:pt x="144324" y="359562"/>
                    <a:pt x="144443" y="365987"/>
                  </a:cubicBezTo>
                  <a:close/>
                  <a:moveTo>
                    <a:pt x="138251" y="363797"/>
                  </a:moveTo>
                  <a:lnTo>
                    <a:pt x="139394" y="363797"/>
                  </a:lnTo>
                  <a:close/>
                  <a:moveTo>
                    <a:pt x="124345" y="343413"/>
                  </a:moveTo>
                  <a:lnTo>
                    <a:pt x="124345" y="343413"/>
                  </a:lnTo>
                  <a:close/>
                  <a:moveTo>
                    <a:pt x="348563" y="277976"/>
                  </a:moveTo>
                  <a:lnTo>
                    <a:pt x="348563" y="277976"/>
                  </a:lnTo>
                  <a:close/>
                  <a:moveTo>
                    <a:pt x="28523" y="193680"/>
                  </a:moveTo>
                  <a:lnTo>
                    <a:pt x="28523" y="194537"/>
                  </a:lnTo>
                  <a:cubicBezTo>
                    <a:pt x="28523" y="194537"/>
                    <a:pt x="28142" y="193966"/>
                    <a:pt x="28142" y="193680"/>
                  </a:cubicBezTo>
                  <a:close/>
                  <a:moveTo>
                    <a:pt x="361898" y="187870"/>
                  </a:moveTo>
                  <a:lnTo>
                    <a:pt x="362660" y="187870"/>
                  </a:lnTo>
                  <a:close/>
                  <a:moveTo>
                    <a:pt x="358469" y="151580"/>
                  </a:moveTo>
                  <a:lnTo>
                    <a:pt x="358469" y="152342"/>
                  </a:lnTo>
                  <a:close/>
                  <a:moveTo>
                    <a:pt x="55670" y="127386"/>
                  </a:moveTo>
                  <a:lnTo>
                    <a:pt x="55670" y="127386"/>
                  </a:lnTo>
                  <a:close/>
                  <a:moveTo>
                    <a:pt x="363518" y="123671"/>
                  </a:moveTo>
                  <a:lnTo>
                    <a:pt x="362946" y="124148"/>
                  </a:lnTo>
                  <a:lnTo>
                    <a:pt x="362946" y="124148"/>
                  </a:lnTo>
                  <a:close/>
                  <a:moveTo>
                    <a:pt x="364089" y="123671"/>
                  </a:moveTo>
                  <a:lnTo>
                    <a:pt x="364089" y="123671"/>
                  </a:lnTo>
                  <a:close/>
                  <a:moveTo>
                    <a:pt x="150920" y="46519"/>
                  </a:moveTo>
                  <a:lnTo>
                    <a:pt x="150920" y="46519"/>
                  </a:lnTo>
                  <a:close/>
                  <a:moveTo>
                    <a:pt x="209689" y="28898"/>
                  </a:moveTo>
                  <a:lnTo>
                    <a:pt x="209689" y="28898"/>
                  </a:lnTo>
                  <a:close/>
                  <a:moveTo>
                    <a:pt x="217404" y="24040"/>
                  </a:moveTo>
                  <a:lnTo>
                    <a:pt x="217404" y="2404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8" name="Freeform: Shape 542">
              <a:extLst>
                <a:ext uri="{FF2B5EF4-FFF2-40B4-BE49-F238E27FC236}">
                  <a16:creationId xmlns:a16="http://schemas.microsoft.com/office/drawing/2014/main" id="{8EE90E85-7C6E-DD47-B0EC-8CAC24CAF85D}"/>
                </a:ext>
              </a:extLst>
            </p:cNvPr>
            <p:cNvSpPr/>
            <p:nvPr/>
          </p:nvSpPr>
          <p:spPr>
            <a:xfrm>
              <a:off x="3646646" y="4697444"/>
              <a:ext cx="133350" cy="133350"/>
            </a:xfrm>
            <a:custGeom>
              <a:avLst/>
              <a:gdLst>
                <a:gd name="connsiteX0" fmla="*/ 69056 w 133350"/>
                <a:gd name="connsiteY0" fmla="*/ 130969 h 133350"/>
                <a:gd name="connsiteX1" fmla="*/ 7144 w 133350"/>
                <a:gd name="connsiteY1" fmla="*/ 69056 h 133350"/>
                <a:gd name="connsiteX2" fmla="*/ 69056 w 133350"/>
                <a:gd name="connsiteY2" fmla="*/ 7144 h 133350"/>
                <a:gd name="connsiteX3" fmla="*/ 130969 w 133350"/>
                <a:gd name="connsiteY3" fmla="*/ 69056 h 133350"/>
                <a:gd name="connsiteX4" fmla="*/ 130969 w 133350"/>
                <a:gd name="connsiteY4" fmla="*/ 69152 h 133350"/>
                <a:gd name="connsiteX5" fmla="*/ 69056 w 133350"/>
                <a:gd name="connsiteY5" fmla="*/ 130969 h 133350"/>
                <a:gd name="connsiteX6" fmla="*/ 69056 w 133350"/>
                <a:gd name="connsiteY6" fmla="*/ 28575 h 133350"/>
                <a:gd name="connsiteX7" fmla="*/ 28480 w 133350"/>
                <a:gd name="connsiteY7" fmla="*/ 69152 h 133350"/>
                <a:gd name="connsiteX8" fmla="*/ 69056 w 133350"/>
                <a:gd name="connsiteY8" fmla="*/ 109728 h 133350"/>
                <a:gd name="connsiteX9" fmla="*/ 109633 w 133350"/>
                <a:gd name="connsiteY9" fmla="*/ 69152 h 133350"/>
                <a:gd name="connsiteX10" fmla="*/ 69056 w 133350"/>
                <a:gd name="connsiteY10" fmla="*/ 28575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3350" h="133350">
                  <a:moveTo>
                    <a:pt x="69056" y="130969"/>
                  </a:moveTo>
                  <a:cubicBezTo>
                    <a:pt x="34863" y="130969"/>
                    <a:pt x="7144" y="103250"/>
                    <a:pt x="7144" y="69056"/>
                  </a:cubicBezTo>
                  <a:cubicBezTo>
                    <a:pt x="7144" y="34863"/>
                    <a:pt x="34863" y="7144"/>
                    <a:pt x="69056" y="7144"/>
                  </a:cubicBezTo>
                  <a:cubicBezTo>
                    <a:pt x="103250" y="7144"/>
                    <a:pt x="130969" y="34863"/>
                    <a:pt x="130969" y="69056"/>
                  </a:cubicBezTo>
                  <a:cubicBezTo>
                    <a:pt x="130969" y="69088"/>
                    <a:pt x="130969" y="69120"/>
                    <a:pt x="130969" y="69152"/>
                  </a:cubicBezTo>
                  <a:cubicBezTo>
                    <a:pt x="130916" y="103308"/>
                    <a:pt x="103212" y="130969"/>
                    <a:pt x="69056" y="130969"/>
                  </a:cubicBezTo>
                  <a:close/>
                  <a:moveTo>
                    <a:pt x="69056" y="28575"/>
                  </a:moveTo>
                  <a:cubicBezTo>
                    <a:pt x="46646" y="28575"/>
                    <a:pt x="28480" y="46742"/>
                    <a:pt x="28480" y="69152"/>
                  </a:cubicBezTo>
                  <a:cubicBezTo>
                    <a:pt x="28480" y="91561"/>
                    <a:pt x="46646" y="109728"/>
                    <a:pt x="69056" y="109728"/>
                  </a:cubicBezTo>
                  <a:cubicBezTo>
                    <a:pt x="91466" y="109728"/>
                    <a:pt x="109633" y="91561"/>
                    <a:pt x="109633" y="69152"/>
                  </a:cubicBezTo>
                  <a:cubicBezTo>
                    <a:pt x="109633" y="46742"/>
                    <a:pt x="91466" y="28575"/>
                    <a:pt x="69056" y="2857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9" name="Freeform: Shape 543">
              <a:extLst>
                <a:ext uri="{FF2B5EF4-FFF2-40B4-BE49-F238E27FC236}">
                  <a16:creationId xmlns:a16="http://schemas.microsoft.com/office/drawing/2014/main" id="{123BFC12-4391-F94F-9807-7ED75BF9E507}"/>
                </a:ext>
              </a:extLst>
            </p:cNvPr>
            <p:cNvSpPr/>
            <p:nvPr/>
          </p:nvSpPr>
          <p:spPr>
            <a:xfrm>
              <a:off x="3645226" y="4963293"/>
              <a:ext cx="238125" cy="238125"/>
            </a:xfrm>
            <a:custGeom>
              <a:avLst/>
              <a:gdLst>
                <a:gd name="connsiteX0" fmla="*/ 115053 w 238125"/>
                <a:gd name="connsiteY0" fmla="*/ 231832 h 238125"/>
                <a:gd name="connsiteX1" fmla="*/ 113910 w 238125"/>
                <a:gd name="connsiteY1" fmla="*/ 231832 h 238125"/>
                <a:gd name="connsiteX2" fmla="*/ 87907 w 238125"/>
                <a:gd name="connsiteY2" fmla="*/ 227165 h 238125"/>
                <a:gd name="connsiteX3" fmla="*/ 79716 w 238125"/>
                <a:gd name="connsiteY3" fmla="*/ 224308 h 238125"/>
                <a:gd name="connsiteX4" fmla="*/ 73905 w 238125"/>
                <a:gd name="connsiteY4" fmla="*/ 215545 h 238125"/>
                <a:gd name="connsiteX5" fmla="*/ 74382 w 238125"/>
                <a:gd name="connsiteY5" fmla="*/ 202210 h 238125"/>
                <a:gd name="connsiteX6" fmla="*/ 59618 w 238125"/>
                <a:gd name="connsiteY6" fmla="*/ 192113 h 238125"/>
                <a:gd name="connsiteX7" fmla="*/ 48378 w 238125"/>
                <a:gd name="connsiteY7" fmla="*/ 197066 h 238125"/>
                <a:gd name="connsiteX8" fmla="*/ 36186 w 238125"/>
                <a:gd name="connsiteY8" fmla="*/ 194304 h 238125"/>
                <a:gd name="connsiteX9" fmla="*/ 17136 w 238125"/>
                <a:gd name="connsiteY9" fmla="*/ 165729 h 238125"/>
                <a:gd name="connsiteX10" fmla="*/ 18184 w 238125"/>
                <a:gd name="connsiteY10" fmla="*/ 155632 h 238125"/>
                <a:gd name="connsiteX11" fmla="*/ 28662 w 238125"/>
                <a:gd name="connsiteY11" fmla="*/ 146107 h 238125"/>
                <a:gd name="connsiteX12" fmla="*/ 25233 w 238125"/>
                <a:gd name="connsiteY12" fmla="*/ 128010 h 238125"/>
                <a:gd name="connsiteX13" fmla="*/ 10945 w 238125"/>
                <a:gd name="connsiteY13" fmla="*/ 122676 h 238125"/>
                <a:gd name="connsiteX14" fmla="*/ 8564 w 238125"/>
                <a:gd name="connsiteY14" fmla="*/ 119723 h 238125"/>
                <a:gd name="connsiteX15" fmla="*/ 7326 w 238125"/>
                <a:gd name="connsiteY15" fmla="*/ 113437 h 238125"/>
                <a:gd name="connsiteX16" fmla="*/ 7326 w 238125"/>
                <a:gd name="connsiteY16" fmla="*/ 108484 h 238125"/>
                <a:gd name="connsiteX17" fmla="*/ 7992 w 238125"/>
                <a:gd name="connsiteY17" fmla="*/ 102578 h 238125"/>
                <a:gd name="connsiteX18" fmla="*/ 14088 w 238125"/>
                <a:gd name="connsiteY18" fmla="*/ 79813 h 238125"/>
                <a:gd name="connsiteX19" fmla="*/ 23613 w 238125"/>
                <a:gd name="connsiteY19" fmla="*/ 73527 h 238125"/>
                <a:gd name="connsiteX20" fmla="*/ 36186 w 238125"/>
                <a:gd name="connsiteY20" fmla="*/ 73527 h 238125"/>
                <a:gd name="connsiteX21" fmla="*/ 36758 w 238125"/>
                <a:gd name="connsiteY21" fmla="*/ 72670 h 238125"/>
                <a:gd name="connsiteX22" fmla="*/ 36758 w 238125"/>
                <a:gd name="connsiteY22" fmla="*/ 71812 h 238125"/>
                <a:gd name="connsiteX23" fmla="*/ 46283 w 238125"/>
                <a:gd name="connsiteY23" fmla="*/ 58573 h 238125"/>
                <a:gd name="connsiteX24" fmla="*/ 42568 w 238125"/>
                <a:gd name="connsiteY24" fmla="*/ 50191 h 238125"/>
                <a:gd name="connsiteX25" fmla="*/ 41330 w 238125"/>
                <a:gd name="connsiteY25" fmla="*/ 47238 h 238125"/>
                <a:gd name="connsiteX26" fmla="*/ 43902 w 238125"/>
                <a:gd name="connsiteY26" fmla="*/ 35332 h 238125"/>
                <a:gd name="connsiteX27" fmla="*/ 61904 w 238125"/>
                <a:gd name="connsiteY27" fmla="*/ 22378 h 238125"/>
                <a:gd name="connsiteX28" fmla="*/ 69333 w 238125"/>
                <a:gd name="connsiteY28" fmla="*/ 18568 h 238125"/>
                <a:gd name="connsiteX29" fmla="*/ 73239 w 238125"/>
                <a:gd name="connsiteY29" fmla="*/ 16663 h 238125"/>
                <a:gd name="connsiteX30" fmla="*/ 83907 w 238125"/>
                <a:gd name="connsiteY30" fmla="*/ 18949 h 238125"/>
                <a:gd name="connsiteX31" fmla="*/ 92670 w 238125"/>
                <a:gd name="connsiteY31" fmla="*/ 28474 h 238125"/>
                <a:gd name="connsiteX32" fmla="*/ 110481 w 238125"/>
                <a:gd name="connsiteY32" fmla="*/ 25140 h 238125"/>
                <a:gd name="connsiteX33" fmla="*/ 111053 w 238125"/>
                <a:gd name="connsiteY33" fmla="*/ 23806 h 238125"/>
                <a:gd name="connsiteX34" fmla="*/ 115339 w 238125"/>
                <a:gd name="connsiteY34" fmla="*/ 13138 h 238125"/>
                <a:gd name="connsiteX35" fmla="*/ 125436 w 238125"/>
                <a:gd name="connsiteY35" fmla="*/ 7328 h 238125"/>
                <a:gd name="connsiteX36" fmla="*/ 130008 w 238125"/>
                <a:gd name="connsiteY36" fmla="*/ 7804 h 238125"/>
                <a:gd name="connsiteX37" fmla="*/ 140961 w 238125"/>
                <a:gd name="connsiteY37" fmla="*/ 9233 h 238125"/>
                <a:gd name="connsiteX38" fmla="*/ 158868 w 238125"/>
                <a:gd name="connsiteY38" fmla="*/ 14472 h 238125"/>
                <a:gd name="connsiteX39" fmla="*/ 165155 w 238125"/>
                <a:gd name="connsiteY39" fmla="*/ 23997 h 238125"/>
                <a:gd name="connsiteX40" fmla="*/ 164583 w 238125"/>
                <a:gd name="connsiteY40" fmla="*/ 35713 h 238125"/>
                <a:gd name="connsiteX41" fmla="*/ 164583 w 238125"/>
                <a:gd name="connsiteY41" fmla="*/ 37332 h 238125"/>
                <a:gd name="connsiteX42" fmla="*/ 179347 w 238125"/>
                <a:gd name="connsiteY42" fmla="*/ 47619 h 238125"/>
                <a:gd name="connsiteX43" fmla="*/ 197540 w 238125"/>
                <a:gd name="connsiteY43" fmla="*/ 39523 h 238125"/>
                <a:gd name="connsiteX44" fmla="*/ 204874 w 238125"/>
                <a:gd name="connsiteY44" fmla="*/ 47905 h 238125"/>
                <a:gd name="connsiteX45" fmla="*/ 210113 w 238125"/>
                <a:gd name="connsiteY45" fmla="*/ 55048 h 238125"/>
                <a:gd name="connsiteX46" fmla="*/ 222876 w 238125"/>
                <a:gd name="connsiteY46" fmla="*/ 75432 h 238125"/>
                <a:gd name="connsiteX47" fmla="*/ 219828 w 238125"/>
                <a:gd name="connsiteY47" fmla="*/ 86100 h 238125"/>
                <a:gd name="connsiteX48" fmla="*/ 216399 w 238125"/>
                <a:gd name="connsiteY48" fmla="*/ 89148 h 238125"/>
                <a:gd name="connsiteX49" fmla="*/ 210780 w 238125"/>
                <a:gd name="connsiteY49" fmla="*/ 94482 h 238125"/>
                <a:gd name="connsiteX50" fmla="*/ 214209 w 238125"/>
                <a:gd name="connsiteY50" fmla="*/ 112198 h 238125"/>
                <a:gd name="connsiteX51" fmla="*/ 232401 w 238125"/>
                <a:gd name="connsiteY51" fmla="*/ 118485 h 238125"/>
                <a:gd name="connsiteX52" fmla="*/ 232401 w 238125"/>
                <a:gd name="connsiteY52" fmla="*/ 124105 h 238125"/>
                <a:gd name="connsiteX53" fmla="*/ 225162 w 238125"/>
                <a:gd name="connsiteY53" fmla="*/ 159538 h 238125"/>
                <a:gd name="connsiteX54" fmla="*/ 225162 w 238125"/>
                <a:gd name="connsiteY54" fmla="*/ 161633 h 238125"/>
                <a:gd name="connsiteX55" fmla="*/ 222400 w 238125"/>
                <a:gd name="connsiteY55" fmla="*/ 164300 h 238125"/>
                <a:gd name="connsiteX56" fmla="*/ 216304 w 238125"/>
                <a:gd name="connsiteY56" fmla="*/ 166110 h 238125"/>
                <a:gd name="connsiteX57" fmla="*/ 216304 w 238125"/>
                <a:gd name="connsiteY57" fmla="*/ 166110 h 238125"/>
                <a:gd name="connsiteX58" fmla="*/ 202874 w 238125"/>
                <a:gd name="connsiteY58" fmla="*/ 164967 h 238125"/>
                <a:gd name="connsiteX59" fmla="*/ 192682 w 238125"/>
                <a:gd name="connsiteY59" fmla="*/ 179921 h 238125"/>
                <a:gd name="connsiteX60" fmla="*/ 194778 w 238125"/>
                <a:gd name="connsiteY60" fmla="*/ 184588 h 238125"/>
                <a:gd name="connsiteX61" fmla="*/ 198016 w 238125"/>
                <a:gd name="connsiteY61" fmla="*/ 191923 h 238125"/>
                <a:gd name="connsiteX62" fmla="*/ 196397 w 238125"/>
                <a:gd name="connsiteY62" fmla="*/ 201448 h 238125"/>
                <a:gd name="connsiteX63" fmla="*/ 195349 w 238125"/>
                <a:gd name="connsiteY63" fmla="*/ 202495 h 238125"/>
                <a:gd name="connsiteX64" fmla="*/ 192111 w 238125"/>
                <a:gd name="connsiteY64" fmla="*/ 205067 h 238125"/>
                <a:gd name="connsiteX65" fmla="*/ 183348 w 238125"/>
                <a:gd name="connsiteY65" fmla="*/ 211639 h 238125"/>
                <a:gd name="connsiteX66" fmla="*/ 166107 w 238125"/>
                <a:gd name="connsiteY66" fmla="*/ 221164 h 238125"/>
                <a:gd name="connsiteX67" fmla="*/ 155249 w 238125"/>
                <a:gd name="connsiteY67" fmla="*/ 219164 h 238125"/>
                <a:gd name="connsiteX68" fmla="*/ 152391 w 238125"/>
                <a:gd name="connsiteY68" fmla="*/ 215926 h 238125"/>
                <a:gd name="connsiteX69" fmla="*/ 146867 w 238125"/>
                <a:gd name="connsiteY69" fmla="*/ 209830 h 238125"/>
                <a:gd name="connsiteX70" fmla="*/ 141723 w 238125"/>
                <a:gd name="connsiteY70" fmla="*/ 211163 h 238125"/>
                <a:gd name="connsiteX71" fmla="*/ 128484 w 238125"/>
                <a:gd name="connsiteY71" fmla="*/ 213259 h 238125"/>
                <a:gd name="connsiteX72" fmla="*/ 123435 w 238125"/>
                <a:gd name="connsiteY72" fmla="*/ 225546 h 238125"/>
                <a:gd name="connsiteX73" fmla="*/ 115053 w 238125"/>
                <a:gd name="connsiteY73" fmla="*/ 231833 h 238125"/>
                <a:gd name="connsiteX74" fmla="*/ 110386 w 238125"/>
                <a:gd name="connsiteY74" fmla="*/ 220498 h 238125"/>
                <a:gd name="connsiteX75" fmla="*/ 110386 w 238125"/>
                <a:gd name="connsiteY75" fmla="*/ 221355 h 238125"/>
                <a:gd name="connsiteX76" fmla="*/ 88193 w 238125"/>
                <a:gd name="connsiteY76" fmla="*/ 212211 h 238125"/>
                <a:gd name="connsiteX77" fmla="*/ 92289 w 238125"/>
                <a:gd name="connsiteY77" fmla="*/ 213640 h 238125"/>
                <a:gd name="connsiteX78" fmla="*/ 111339 w 238125"/>
                <a:gd name="connsiteY78" fmla="*/ 217354 h 238125"/>
                <a:gd name="connsiteX79" fmla="*/ 117054 w 238125"/>
                <a:gd name="connsiteY79" fmla="*/ 203734 h 238125"/>
                <a:gd name="connsiteX80" fmla="*/ 122959 w 238125"/>
                <a:gd name="connsiteY80" fmla="*/ 199924 h 238125"/>
                <a:gd name="connsiteX81" fmla="*/ 138104 w 238125"/>
                <a:gd name="connsiteY81" fmla="*/ 197923 h 238125"/>
                <a:gd name="connsiteX82" fmla="*/ 144486 w 238125"/>
                <a:gd name="connsiteY82" fmla="*/ 196114 h 238125"/>
                <a:gd name="connsiteX83" fmla="*/ 154011 w 238125"/>
                <a:gd name="connsiteY83" fmla="*/ 197257 h 238125"/>
                <a:gd name="connsiteX84" fmla="*/ 154868 w 238125"/>
                <a:gd name="connsiteY84" fmla="*/ 198019 h 238125"/>
                <a:gd name="connsiteX85" fmla="*/ 162774 w 238125"/>
                <a:gd name="connsiteY85" fmla="*/ 206972 h 238125"/>
                <a:gd name="connsiteX86" fmla="*/ 162774 w 238125"/>
                <a:gd name="connsiteY86" fmla="*/ 206972 h 238125"/>
                <a:gd name="connsiteX87" fmla="*/ 174870 w 238125"/>
                <a:gd name="connsiteY87" fmla="*/ 200019 h 238125"/>
                <a:gd name="connsiteX88" fmla="*/ 182776 w 238125"/>
                <a:gd name="connsiteY88" fmla="*/ 194018 h 238125"/>
                <a:gd name="connsiteX89" fmla="*/ 182776 w 238125"/>
                <a:gd name="connsiteY89" fmla="*/ 194018 h 238125"/>
                <a:gd name="connsiteX90" fmla="*/ 181062 w 238125"/>
                <a:gd name="connsiteY90" fmla="*/ 190018 h 238125"/>
                <a:gd name="connsiteX91" fmla="*/ 177918 w 238125"/>
                <a:gd name="connsiteY91" fmla="*/ 182969 h 238125"/>
                <a:gd name="connsiteX92" fmla="*/ 178585 w 238125"/>
                <a:gd name="connsiteY92" fmla="*/ 173444 h 238125"/>
                <a:gd name="connsiteX93" fmla="*/ 190682 w 238125"/>
                <a:gd name="connsiteY93" fmla="*/ 156204 h 238125"/>
                <a:gd name="connsiteX94" fmla="*/ 201921 w 238125"/>
                <a:gd name="connsiteY94" fmla="*/ 150394 h 238125"/>
                <a:gd name="connsiteX95" fmla="*/ 212304 w 238125"/>
                <a:gd name="connsiteY95" fmla="*/ 150394 h 238125"/>
                <a:gd name="connsiteX96" fmla="*/ 217257 w 238125"/>
                <a:gd name="connsiteY96" fmla="*/ 127153 h 238125"/>
                <a:gd name="connsiteX97" fmla="*/ 205160 w 238125"/>
                <a:gd name="connsiteY97" fmla="*/ 122676 h 238125"/>
                <a:gd name="connsiteX98" fmla="*/ 199731 w 238125"/>
                <a:gd name="connsiteY98" fmla="*/ 114389 h 238125"/>
                <a:gd name="connsiteX99" fmla="*/ 195730 w 238125"/>
                <a:gd name="connsiteY99" fmla="*/ 94101 h 238125"/>
                <a:gd name="connsiteX100" fmla="*/ 198588 w 238125"/>
                <a:gd name="connsiteY100" fmla="*/ 84576 h 238125"/>
                <a:gd name="connsiteX101" fmla="*/ 206112 w 238125"/>
                <a:gd name="connsiteY101" fmla="*/ 77527 h 238125"/>
                <a:gd name="connsiteX102" fmla="*/ 207636 w 238125"/>
                <a:gd name="connsiteY102" fmla="*/ 76099 h 238125"/>
                <a:gd name="connsiteX103" fmla="*/ 199254 w 238125"/>
                <a:gd name="connsiteY103" fmla="*/ 62002 h 238125"/>
                <a:gd name="connsiteX104" fmla="*/ 194587 w 238125"/>
                <a:gd name="connsiteY104" fmla="*/ 55620 h 238125"/>
                <a:gd name="connsiteX105" fmla="*/ 182967 w 238125"/>
                <a:gd name="connsiteY105" fmla="*/ 60668 h 238125"/>
                <a:gd name="connsiteX106" fmla="*/ 174299 w 238125"/>
                <a:gd name="connsiteY106" fmla="*/ 60097 h 238125"/>
                <a:gd name="connsiteX107" fmla="*/ 155916 w 238125"/>
                <a:gd name="connsiteY107" fmla="*/ 47238 h 238125"/>
                <a:gd name="connsiteX108" fmla="*/ 151058 w 238125"/>
                <a:gd name="connsiteY108" fmla="*/ 37713 h 238125"/>
                <a:gd name="connsiteX109" fmla="*/ 151058 w 238125"/>
                <a:gd name="connsiteY109" fmla="*/ 33712 h 238125"/>
                <a:gd name="connsiteX110" fmla="*/ 151058 w 238125"/>
                <a:gd name="connsiteY110" fmla="*/ 25902 h 238125"/>
                <a:gd name="connsiteX111" fmla="*/ 138675 w 238125"/>
                <a:gd name="connsiteY111" fmla="*/ 22473 h 238125"/>
                <a:gd name="connsiteX112" fmla="*/ 128579 w 238125"/>
                <a:gd name="connsiteY112" fmla="*/ 21139 h 238125"/>
                <a:gd name="connsiteX113" fmla="*/ 127436 w 238125"/>
                <a:gd name="connsiteY113" fmla="*/ 21139 h 238125"/>
                <a:gd name="connsiteX114" fmla="*/ 124388 w 238125"/>
                <a:gd name="connsiteY114" fmla="*/ 28664 h 238125"/>
                <a:gd name="connsiteX115" fmla="*/ 123054 w 238125"/>
                <a:gd name="connsiteY115" fmla="*/ 31807 h 238125"/>
                <a:gd name="connsiteX116" fmla="*/ 113529 w 238125"/>
                <a:gd name="connsiteY116" fmla="*/ 38380 h 238125"/>
                <a:gd name="connsiteX117" fmla="*/ 94479 w 238125"/>
                <a:gd name="connsiteY117" fmla="*/ 42285 h 238125"/>
                <a:gd name="connsiteX118" fmla="*/ 84954 w 238125"/>
                <a:gd name="connsiteY118" fmla="*/ 39332 h 238125"/>
                <a:gd name="connsiteX119" fmla="*/ 76763 w 238125"/>
                <a:gd name="connsiteY119" fmla="*/ 30569 h 238125"/>
                <a:gd name="connsiteX120" fmla="*/ 76763 w 238125"/>
                <a:gd name="connsiteY120" fmla="*/ 30569 h 238125"/>
                <a:gd name="connsiteX121" fmla="*/ 70095 w 238125"/>
                <a:gd name="connsiteY121" fmla="*/ 33998 h 238125"/>
                <a:gd name="connsiteX122" fmla="*/ 56570 w 238125"/>
                <a:gd name="connsiteY122" fmla="*/ 43523 h 238125"/>
                <a:gd name="connsiteX123" fmla="*/ 56570 w 238125"/>
                <a:gd name="connsiteY123" fmla="*/ 43523 h 238125"/>
                <a:gd name="connsiteX124" fmla="*/ 61047 w 238125"/>
                <a:gd name="connsiteY124" fmla="*/ 53715 h 238125"/>
                <a:gd name="connsiteX125" fmla="*/ 59999 w 238125"/>
                <a:gd name="connsiteY125" fmla="*/ 66859 h 238125"/>
                <a:gd name="connsiteX126" fmla="*/ 50474 w 238125"/>
                <a:gd name="connsiteY126" fmla="*/ 79337 h 238125"/>
                <a:gd name="connsiteX127" fmla="*/ 50474 w 238125"/>
                <a:gd name="connsiteY127" fmla="*/ 80099 h 238125"/>
                <a:gd name="connsiteX128" fmla="*/ 48950 w 238125"/>
                <a:gd name="connsiteY128" fmla="*/ 82957 h 238125"/>
                <a:gd name="connsiteX129" fmla="*/ 39425 w 238125"/>
                <a:gd name="connsiteY129" fmla="*/ 88100 h 238125"/>
                <a:gd name="connsiteX130" fmla="*/ 27614 w 238125"/>
                <a:gd name="connsiteY130" fmla="*/ 88100 h 238125"/>
                <a:gd name="connsiteX131" fmla="*/ 23423 w 238125"/>
                <a:gd name="connsiteY131" fmla="*/ 104769 h 238125"/>
                <a:gd name="connsiteX132" fmla="*/ 22756 w 238125"/>
                <a:gd name="connsiteY132" fmla="*/ 110198 h 238125"/>
                <a:gd name="connsiteX133" fmla="*/ 22756 w 238125"/>
                <a:gd name="connsiteY133" fmla="*/ 111532 h 238125"/>
                <a:gd name="connsiteX134" fmla="*/ 34091 w 238125"/>
                <a:gd name="connsiteY134" fmla="*/ 116104 h 238125"/>
                <a:gd name="connsiteX135" fmla="*/ 40092 w 238125"/>
                <a:gd name="connsiteY135" fmla="*/ 124486 h 238125"/>
                <a:gd name="connsiteX136" fmla="*/ 43330 w 238125"/>
                <a:gd name="connsiteY136" fmla="*/ 142678 h 238125"/>
                <a:gd name="connsiteX137" fmla="*/ 43997 w 238125"/>
                <a:gd name="connsiteY137" fmla="*/ 145155 h 238125"/>
                <a:gd name="connsiteX138" fmla="*/ 41425 w 238125"/>
                <a:gd name="connsiteY138" fmla="*/ 154680 h 238125"/>
                <a:gd name="connsiteX139" fmla="*/ 31900 w 238125"/>
                <a:gd name="connsiteY139" fmla="*/ 162871 h 238125"/>
                <a:gd name="connsiteX140" fmla="*/ 45140 w 238125"/>
                <a:gd name="connsiteY140" fmla="*/ 183255 h 238125"/>
                <a:gd name="connsiteX141" fmla="*/ 56379 w 238125"/>
                <a:gd name="connsiteY141" fmla="*/ 178302 h 238125"/>
                <a:gd name="connsiteX142" fmla="*/ 65904 w 238125"/>
                <a:gd name="connsiteY142" fmla="*/ 178873 h 238125"/>
                <a:gd name="connsiteX143" fmla="*/ 82954 w 238125"/>
                <a:gd name="connsiteY143" fmla="*/ 190970 h 238125"/>
                <a:gd name="connsiteX144" fmla="*/ 88860 w 238125"/>
                <a:gd name="connsiteY144" fmla="*/ 202495 h 238125"/>
                <a:gd name="connsiteX145" fmla="*/ 88574 w 238125"/>
                <a:gd name="connsiteY145" fmla="*/ 212211 h 238125"/>
                <a:gd name="connsiteX146" fmla="*/ 83811 w 238125"/>
                <a:gd name="connsiteY146" fmla="*/ 210687 h 238125"/>
                <a:gd name="connsiteX147" fmla="*/ 84573 w 238125"/>
                <a:gd name="connsiteY147" fmla="*/ 210687 h 238125"/>
                <a:gd name="connsiteX148" fmla="*/ 76096 w 238125"/>
                <a:gd name="connsiteY148" fmla="*/ 203067 h 238125"/>
                <a:gd name="connsiteX149" fmla="*/ 76953 w 238125"/>
                <a:gd name="connsiteY149" fmla="*/ 203067 h 238125"/>
                <a:gd name="connsiteX150" fmla="*/ 74667 w 238125"/>
                <a:gd name="connsiteY150" fmla="*/ 199924 h 238125"/>
                <a:gd name="connsiteX151" fmla="*/ 74667 w 238125"/>
                <a:gd name="connsiteY151" fmla="*/ 199924 h 238125"/>
                <a:gd name="connsiteX152" fmla="*/ 204112 w 238125"/>
                <a:gd name="connsiteY152" fmla="*/ 162586 h 238125"/>
                <a:gd name="connsiteX153" fmla="*/ 204112 w 238125"/>
                <a:gd name="connsiteY153" fmla="*/ 163252 h 238125"/>
                <a:gd name="connsiteX154" fmla="*/ 204112 w 238125"/>
                <a:gd name="connsiteY154" fmla="*/ 162586 h 238125"/>
                <a:gd name="connsiteX155" fmla="*/ 25518 w 238125"/>
                <a:gd name="connsiteY155" fmla="*/ 124486 h 238125"/>
                <a:gd name="connsiteX156" fmla="*/ 25518 w 238125"/>
                <a:gd name="connsiteY156" fmla="*/ 124486 h 238125"/>
                <a:gd name="connsiteX157" fmla="*/ 21899 w 238125"/>
                <a:gd name="connsiteY157" fmla="*/ 114961 h 238125"/>
                <a:gd name="connsiteX158" fmla="*/ 21899 w 238125"/>
                <a:gd name="connsiteY158" fmla="*/ 114961 h 238125"/>
                <a:gd name="connsiteX159" fmla="*/ 214399 w 238125"/>
                <a:gd name="connsiteY159" fmla="*/ 114484 h 238125"/>
                <a:gd name="connsiteX160" fmla="*/ 214399 w 238125"/>
                <a:gd name="connsiteY160" fmla="*/ 114484 h 238125"/>
                <a:gd name="connsiteX161" fmla="*/ 209732 w 238125"/>
                <a:gd name="connsiteY161" fmla="*/ 90481 h 238125"/>
                <a:gd name="connsiteX162" fmla="*/ 209732 w 238125"/>
                <a:gd name="connsiteY162" fmla="*/ 90481 h 238125"/>
                <a:gd name="connsiteX163" fmla="*/ 209732 w 238125"/>
                <a:gd name="connsiteY163" fmla="*/ 80194 h 238125"/>
                <a:gd name="connsiteX164" fmla="*/ 210208 w 238125"/>
                <a:gd name="connsiteY164" fmla="*/ 81147 h 238125"/>
                <a:gd name="connsiteX165" fmla="*/ 209637 w 238125"/>
                <a:gd name="connsiteY165" fmla="*/ 80194 h 238125"/>
                <a:gd name="connsiteX166" fmla="*/ 35901 w 238125"/>
                <a:gd name="connsiteY166" fmla="*/ 76575 h 238125"/>
                <a:gd name="connsiteX167" fmla="*/ 35901 w 238125"/>
                <a:gd name="connsiteY167" fmla="*/ 76575 h 238125"/>
                <a:gd name="connsiteX168" fmla="*/ 211446 w 238125"/>
                <a:gd name="connsiteY168" fmla="*/ 74194 h 238125"/>
                <a:gd name="connsiteX169" fmla="*/ 210875 w 238125"/>
                <a:gd name="connsiteY169" fmla="*/ 74194 h 238125"/>
                <a:gd name="connsiteX170" fmla="*/ 48569 w 238125"/>
                <a:gd name="connsiteY170" fmla="*/ 60763 h 238125"/>
                <a:gd name="connsiteX171" fmla="*/ 48569 w 238125"/>
                <a:gd name="connsiteY171" fmla="*/ 61716 h 238125"/>
                <a:gd name="connsiteX172" fmla="*/ 49236 w 238125"/>
                <a:gd name="connsiteY172" fmla="*/ 57049 h 238125"/>
                <a:gd name="connsiteX173" fmla="*/ 49236 w 238125"/>
                <a:gd name="connsiteY173" fmla="*/ 57049 h 238125"/>
                <a:gd name="connsiteX174" fmla="*/ 165822 w 238125"/>
                <a:gd name="connsiteY174" fmla="*/ 39523 h 238125"/>
                <a:gd name="connsiteX175" fmla="*/ 165822 w 238125"/>
                <a:gd name="connsiteY175" fmla="*/ 40094 h 238125"/>
                <a:gd name="connsiteX176" fmla="*/ 165822 w 238125"/>
                <a:gd name="connsiteY176" fmla="*/ 39523 h 238125"/>
                <a:gd name="connsiteX177" fmla="*/ 162774 w 238125"/>
                <a:gd name="connsiteY177" fmla="*/ 35332 h 238125"/>
                <a:gd name="connsiteX178" fmla="*/ 163345 w 238125"/>
                <a:gd name="connsiteY178" fmla="*/ 35332 h 238125"/>
                <a:gd name="connsiteX179" fmla="*/ 81430 w 238125"/>
                <a:gd name="connsiteY179" fmla="*/ 29712 h 238125"/>
                <a:gd name="connsiteX180" fmla="*/ 80859 w 238125"/>
                <a:gd name="connsiteY180" fmla="*/ 29712 h 238125"/>
                <a:gd name="connsiteX181" fmla="*/ 114482 w 238125"/>
                <a:gd name="connsiteY181" fmla="*/ 25521 h 238125"/>
                <a:gd name="connsiteX182" fmla="*/ 114482 w 238125"/>
                <a:gd name="connsiteY182" fmla="*/ 25521 h 238125"/>
                <a:gd name="connsiteX183" fmla="*/ 124674 w 238125"/>
                <a:gd name="connsiteY183" fmla="*/ 21901 h 238125"/>
                <a:gd name="connsiteX184" fmla="*/ 124674 w 238125"/>
                <a:gd name="connsiteY184" fmla="*/ 21901 h 238125"/>
                <a:gd name="connsiteX185" fmla="*/ 130293 w 238125"/>
                <a:gd name="connsiteY185" fmla="*/ 17901 h 238125"/>
                <a:gd name="connsiteX186" fmla="*/ 130293 w 238125"/>
                <a:gd name="connsiteY186" fmla="*/ 19044 h 238125"/>
                <a:gd name="connsiteX187" fmla="*/ 130293 w 238125"/>
                <a:gd name="connsiteY187" fmla="*/ 1761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</a:cxnLst>
              <a:rect l="l" t="t" r="r" b="b"/>
              <a:pathLst>
                <a:path w="238125" h="238125">
                  <a:moveTo>
                    <a:pt x="115053" y="231832"/>
                  </a:moveTo>
                  <a:lnTo>
                    <a:pt x="113910" y="231832"/>
                  </a:lnTo>
                  <a:cubicBezTo>
                    <a:pt x="105087" y="231322"/>
                    <a:pt x="96357" y="229755"/>
                    <a:pt x="87907" y="227165"/>
                  </a:cubicBezTo>
                  <a:lnTo>
                    <a:pt x="79716" y="224308"/>
                  </a:lnTo>
                  <a:cubicBezTo>
                    <a:pt x="75912" y="223179"/>
                    <a:pt x="73465" y="219487"/>
                    <a:pt x="73905" y="215545"/>
                  </a:cubicBezTo>
                  <a:cubicBezTo>
                    <a:pt x="73905" y="211163"/>
                    <a:pt x="73905" y="206782"/>
                    <a:pt x="74382" y="202210"/>
                  </a:cubicBezTo>
                  <a:cubicBezTo>
                    <a:pt x="69164" y="199300"/>
                    <a:pt x="64222" y="195921"/>
                    <a:pt x="59618" y="192113"/>
                  </a:cubicBezTo>
                  <a:lnTo>
                    <a:pt x="48378" y="197066"/>
                  </a:lnTo>
                  <a:cubicBezTo>
                    <a:pt x="44238" y="199604"/>
                    <a:pt x="38829" y="198379"/>
                    <a:pt x="36186" y="194304"/>
                  </a:cubicBezTo>
                  <a:cubicBezTo>
                    <a:pt x="28362" y="185849"/>
                    <a:pt x="21932" y="176203"/>
                    <a:pt x="17136" y="165729"/>
                  </a:cubicBezTo>
                  <a:cubicBezTo>
                    <a:pt x="15107" y="162526"/>
                    <a:pt x="15540" y="158350"/>
                    <a:pt x="18184" y="155632"/>
                  </a:cubicBezTo>
                  <a:lnTo>
                    <a:pt x="28662" y="146107"/>
                  </a:lnTo>
                  <a:cubicBezTo>
                    <a:pt x="26969" y="140192"/>
                    <a:pt x="25821" y="134134"/>
                    <a:pt x="25233" y="128010"/>
                  </a:cubicBezTo>
                  <a:lnTo>
                    <a:pt x="10945" y="122676"/>
                  </a:lnTo>
                  <a:lnTo>
                    <a:pt x="8564" y="119723"/>
                  </a:lnTo>
                  <a:cubicBezTo>
                    <a:pt x="7304" y="117887"/>
                    <a:pt x="6856" y="115613"/>
                    <a:pt x="7326" y="113437"/>
                  </a:cubicBezTo>
                  <a:cubicBezTo>
                    <a:pt x="7326" y="112103"/>
                    <a:pt x="7326" y="110293"/>
                    <a:pt x="7326" y="108484"/>
                  </a:cubicBezTo>
                  <a:cubicBezTo>
                    <a:pt x="7326" y="106674"/>
                    <a:pt x="7326" y="104483"/>
                    <a:pt x="7992" y="102578"/>
                  </a:cubicBezTo>
                  <a:cubicBezTo>
                    <a:pt x="9180" y="94789"/>
                    <a:pt x="11224" y="87154"/>
                    <a:pt x="14088" y="79813"/>
                  </a:cubicBezTo>
                  <a:cubicBezTo>
                    <a:pt x="15205" y="75602"/>
                    <a:pt x="19302" y="72897"/>
                    <a:pt x="23613" y="73527"/>
                  </a:cubicBezTo>
                  <a:lnTo>
                    <a:pt x="36186" y="73527"/>
                  </a:lnTo>
                  <a:lnTo>
                    <a:pt x="36758" y="72670"/>
                  </a:lnTo>
                  <a:lnTo>
                    <a:pt x="36758" y="71812"/>
                  </a:lnTo>
                  <a:cubicBezTo>
                    <a:pt x="39538" y="67128"/>
                    <a:pt x="42725" y="62697"/>
                    <a:pt x="46283" y="58573"/>
                  </a:cubicBezTo>
                  <a:cubicBezTo>
                    <a:pt x="44854" y="55525"/>
                    <a:pt x="43711" y="52858"/>
                    <a:pt x="42568" y="50191"/>
                  </a:cubicBezTo>
                  <a:lnTo>
                    <a:pt x="41330" y="47238"/>
                  </a:lnTo>
                  <a:cubicBezTo>
                    <a:pt x="39206" y="43168"/>
                    <a:pt x="40287" y="38162"/>
                    <a:pt x="43902" y="35332"/>
                  </a:cubicBezTo>
                  <a:cubicBezTo>
                    <a:pt x="49454" y="30422"/>
                    <a:pt x="55485" y="26083"/>
                    <a:pt x="61904" y="22378"/>
                  </a:cubicBezTo>
                  <a:cubicBezTo>
                    <a:pt x="64285" y="21044"/>
                    <a:pt x="66857" y="19806"/>
                    <a:pt x="69333" y="18568"/>
                  </a:cubicBezTo>
                  <a:lnTo>
                    <a:pt x="73239" y="16663"/>
                  </a:lnTo>
                  <a:cubicBezTo>
                    <a:pt x="76872" y="14689"/>
                    <a:pt x="81401" y="15660"/>
                    <a:pt x="83907" y="18949"/>
                  </a:cubicBezTo>
                  <a:lnTo>
                    <a:pt x="92670" y="28474"/>
                  </a:lnTo>
                  <a:cubicBezTo>
                    <a:pt x="98497" y="26841"/>
                    <a:pt x="104458" y="25726"/>
                    <a:pt x="110481" y="25140"/>
                  </a:cubicBezTo>
                  <a:lnTo>
                    <a:pt x="111053" y="23806"/>
                  </a:lnTo>
                  <a:cubicBezTo>
                    <a:pt x="112482" y="20282"/>
                    <a:pt x="114006" y="16853"/>
                    <a:pt x="115339" y="13138"/>
                  </a:cubicBezTo>
                  <a:cubicBezTo>
                    <a:pt x="116744" y="8921"/>
                    <a:pt x="121084" y="6424"/>
                    <a:pt x="125436" y="7328"/>
                  </a:cubicBezTo>
                  <a:lnTo>
                    <a:pt x="130008" y="7804"/>
                  </a:lnTo>
                  <a:cubicBezTo>
                    <a:pt x="133627" y="7804"/>
                    <a:pt x="137342" y="8662"/>
                    <a:pt x="140961" y="9233"/>
                  </a:cubicBezTo>
                  <a:cubicBezTo>
                    <a:pt x="147078" y="10429"/>
                    <a:pt x="153072" y="12182"/>
                    <a:pt x="158868" y="14472"/>
                  </a:cubicBezTo>
                  <a:cubicBezTo>
                    <a:pt x="162845" y="15901"/>
                    <a:pt x="165404" y="19779"/>
                    <a:pt x="165155" y="23997"/>
                  </a:cubicBezTo>
                  <a:cubicBezTo>
                    <a:pt x="165155" y="27934"/>
                    <a:pt x="164964" y="31839"/>
                    <a:pt x="164583" y="35713"/>
                  </a:cubicBezTo>
                  <a:lnTo>
                    <a:pt x="164583" y="37332"/>
                  </a:lnTo>
                  <a:cubicBezTo>
                    <a:pt x="169798" y="40319"/>
                    <a:pt x="174739" y="43761"/>
                    <a:pt x="179347" y="47619"/>
                  </a:cubicBezTo>
                  <a:lnTo>
                    <a:pt x="197540" y="39523"/>
                  </a:lnTo>
                  <a:lnTo>
                    <a:pt x="204874" y="47905"/>
                  </a:lnTo>
                  <a:cubicBezTo>
                    <a:pt x="206589" y="50191"/>
                    <a:pt x="208398" y="52477"/>
                    <a:pt x="210113" y="55048"/>
                  </a:cubicBezTo>
                  <a:cubicBezTo>
                    <a:pt x="215102" y="61354"/>
                    <a:pt x="219382" y="68190"/>
                    <a:pt x="222876" y="75432"/>
                  </a:cubicBezTo>
                  <a:cubicBezTo>
                    <a:pt x="224652" y="79251"/>
                    <a:pt x="223353" y="83795"/>
                    <a:pt x="219828" y="86100"/>
                  </a:cubicBezTo>
                  <a:lnTo>
                    <a:pt x="216399" y="89148"/>
                  </a:lnTo>
                  <a:lnTo>
                    <a:pt x="210780" y="94482"/>
                  </a:lnTo>
                  <a:cubicBezTo>
                    <a:pt x="212398" y="100286"/>
                    <a:pt x="213544" y="106210"/>
                    <a:pt x="214209" y="112198"/>
                  </a:cubicBezTo>
                  <a:lnTo>
                    <a:pt x="232401" y="118485"/>
                  </a:lnTo>
                  <a:lnTo>
                    <a:pt x="232401" y="124105"/>
                  </a:lnTo>
                  <a:cubicBezTo>
                    <a:pt x="231808" y="136216"/>
                    <a:pt x="229367" y="148165"/>
                    <a:pt x="225162" y="159538"/>
                  </a:cubicBezTo>
                  <a:lnTo>
                    <a:pt x="225162" y="161633"/>
                  </a:lnTo>
                  <a:lnTo>
                    <a:pt x="222400" y="164300"/>
                  </a:lnTo>
                  <a:cubicBezTo>
                    <a:pt x="220666" y="165645"/>
                    <a:pt x="218491" y="166291"/>
                    <a:pt x="216304" y="166110"/>
                  </a:cubicBezTo>
                  <a:lnTo>
                    <a:pt x="216304" y="166110"/>
                  </a:lnTo>
                  <a:lnTo>
                    <a:pt x="202874" y="164967"/>
                  </a:lnTo>
                  <a:cubicBezTo>
                    <a:pt x="199933" y="170248"/>
                    <a:pt x="196522" y="175253"/>
                    <a:pt x="192682" y="179921"/>
                  </a:cubicBezTo>
                  <a:lnTo>
                    <a:pt x="194778" y="184588"/>
                  </a:lnTo>
                  <a:cubicBezTo>
                    <a:pt x="195825" y="187065"/>
                    <a:pt x="196873" y="189446"/>
                    <a:pt x="198016" y="191923"/>
                  </a:cubicBezTo>
                  <a:cubicBezTo>
                    <a:pt x="199246" y="195156"/>
                    <a:pt x="198626" y="198802"/>
                    <a:pt x="196397" y="201448"/>
                  </a:cubicBezTo>
                  <a:lnTo>
                    <a:pt x="195349" y="202495"/>
                  </a:lnTo>
                  <a:lnTo>
                    <a:pt x="192111" y="205067"/>
                  </a:lnTo>
                  <a:cubicBezTo>
                    <a:pt x="189158" y="207353"/>
                    <a:pt x="186396" y="209639"/>
                    <a:pt x="183348" y="211639"/>
                  </a:cubicBezTo>
                  <a:cubicBezTo>
                    <a:pt x="177943" y="215398"/>
                    <a:pt x="172166" y="218590"/>
                    <a:pt x="166107" y="221164"/>
                  </a:cubicBezTo>
                  <a:cubicBezTo>
                    <a:pt x="162490" y="223269"/>
                    <a:pt x="157878" y="222420"/>
                    <a:pt x="155249" y="219164"/>
                  </a:cubicBezTo>
                  <a:lnTo>
                    <a:pt x="152391" y="215926"/>
                  </a:lnTo>
                  <a:cubicBezTo>
                    <a:pt x="150486" y="213925"/>
                    <a:pt x="148677" y="211830"/>
                    <a:pt x="146867" y="209830"/>
                  </a:cubicBezTo>
                  <a:lnTo>
                    <a:pt x="141723" y="211163"/>
                  </a:lnTo>
                  <a:cubicBezTo>
                    <a:pt x="137370" y="212201"/>
                    <a:pt x="132944" y="212901"/>
                    <a:pt x="128484" y="213259"/>
                  </a:cubicBezTo>
                  <a:lnTo>
                    <a:pt x="123435" y="225546"/>
                  </a:lnTo>
                  <a:cubicBezTo>
                    <a:pt x="122426" y="229324"/>
                    <a:pt x="118963" y="231921"/>
                    <a:pt x="115053" y="231833"/>
                  </a:cubicBezTo>
                  <a:close/>
                  <a:moveTo>
                    <a:pt x="110386" y="220498"/>
                  </a:moveTo>
                  <a:cubicBezTo>
                    <a:pt x="110350" y="220782"/>
                    <a:pt x="110350" y="221070"/>
                    <a:pt x="110386" y="221355"/>
                  </a:cubicBezTo>
                  <a:close/>
                  <a:moveTo>
                    <a:pt x="88193" y="212211"/>
                  </a:moveTo>
                  <a:lnTo>
                    <a:pt x="92289" y="213640"/>
                  </a:lnTo>
                  <a:cubicBezTo>
                    <a:pt x="98502" y="215498"/>
                    <a:pt x="104882" y="216742"/>
                    <a:pt x="111339" y="217354"/>
                  </a:cubicBezTo>
                  <a:lnTo>
                    <a:pt x="117054" y="203734"/>
                  </a:lnTo>
                  <a:cubicBezTo>
                    <a:pt x="118396" y="201687"/>
                    <a:pt x="120541" y="200303"/>
                    <a:pt x="122959" y="199924"/>
                  </a:cubicBezTo>
                  <a:cubicBezTo>
                    <a:pt x="128064" y="199789"/>
                    <a:pt x="133140" y="199119"/>
                    <a:pt x="138104" y="197923"/>
                  </a:cubicBezTo>
                  <a:cubicBezTo>
                    <a:pt x="140390" y="197352"/>
                    <a:pt x="142485" y="196780"/>
                    <a:pt x="144486" y="196114"/>
                  </a:cubicBezTo>
                  <a:cubicBezTo>
                    <a:pt x="147601" y="194543"/>
                    <a:pt x="151355" y="194993"/>
                    <a:pt x="154011" y="197257"/>
                  </a:cubicBezTo>
                  <a:lnTo>
                    <a:pt x="154868" y="198019"/>
                  </a:lnTo>
                  <a:cubicBezTo>
                    <a:pt x="157440" y="201067"/>
                    <a:pt x="160107" y="204019"/>
                    <a:pt x="162774" y="206972"/>
                  </a:cubicBezTo>
                  <a:lnTo>
                    <a:pt x="162774" y="206972"/>
                  </a:lnTo>
                  <a:cubicBezTo>
                    <a:pt x="166985" y="204981"/>
                    <a:pt x="171030" y="202656"/>
                    <a:pt x="174870" y="200019"/>
                  </a:cubicBezTo>
                  <a:cubicBezTo>
                    <a:pt x="177537" y="198114"/>
                    <a:pt x="180109" y="196018"/>
                    <a:pt x="182776" y="194018"/>
                  </a:cubicBezTo>
                  <a:lnTo>
                    <a:pt x="182776" y="194018"/>
                  </a:lnTo>
                  <a:cubicBezTo>
                    <a:pt x="182205" y="192780"/>
                    <a:pt x="181633" y="191351"/>
                    <a:pt x="181062" y="190018"/>
                  </a:cubicBezTo>
                  <a:lnTo>
                    <a:pt x="177918" y="182969"/>
                  </a:lnTo>
                  <a:cubicBezTo>
                    <a:pt x="176188" y="179953"/>
                    <a:pt x="176452" y="176190"/>
                    <a:pt x="178585" y="173444"/>
                  </a:cubicBezTo>
                  <a:cubicBezTo>
                    <a:pt x="183259" y="168175"/>
                    <a:pt x="187317" y="162391"/>
                    <a:pt x="190682" y="156204"/>
                  </a:cubicBezTo>
                  <a:cubicBezTo>
                    <a:pt x="192679" y="151944"/>
                    <a:pt x="197291" y="149560"/>
                    <a:pt x="201921" y="150394"/>
                  </a:cubicBezTo>
                  <a:lnTo>
                    <a:pt x="212304" y="150394"/>
                  </a:lnTo>
                  <a:cubicBezTo>
                    <a:pt x="214854" y="142866"/>
                    <a:pt x="216516" y="135066"/>
                    <a:pt x="217257" y="127153"/>
                  </a:cubicBezTo>
                  <a:lnTo>
                    <a:pt x="205160" y="122676"/>
                  </a:lnTo>
                  <a:cubicBezTo>
                    <a:pt x="201674" y="121473"/>
                    <a:pt x="199442" y="118066"/>
                    <a:pt x="199731" y="114389"/>
                  </a:cubicBezTo>
                  <a:cubicBezTo>
                    <a:pt x="199107" y="107506"/>
                    <a:pt x="197766" y="100706"/>
                    <a:pt x="195730" y="94101"/>
                  </a:cubicBezTo>
                  <a:cubicBezTo>
                    <a:pt x="194614" y="90641"/>
                    <a:pt x="195751" y="86851"/>
                    <a:pt x="198588" y="84576"/>
                  </a:cubicBezTo>
                  <a:lnTo>
                    <a:pt x="206112" y="77527"/>
                  </a:lnTo>
                  <a:lnTo>
                    <a:pt x="207636" y="76099"/>
                  </a:lnTo>
                  <a:cubicBezTo>
                    <a:pt x="205283" y="71151"/>
                    <a:pt x="202477" y="66432"/>
                    <a:pt x="199254" y="62002"/>
                  </a:cubicBezTo>
                  <a:cubicBezTo>
                    <a:pt x="197635" y="59525"/>
                    <a:pt x="196111" y="57620"/>
                    <a:pt x="194587" y="55620"/>
                  </a:cubicBezTo>
                  <a:lnTo>
                    <a:pt x="182967" y="60668"/>
                  </a:lnTo>
                  <a:cubicBezTo>
                    <a:pt x="180196" y="62106"/>
                    <a:pt x="176856" y="61886"/>
                    <a:pt x="174299" y="60097"/>
                  </a:cubicBezTo>
                  <a:cubicBezTo>
                    <a:pt x="168710" y="55087"/>
                    <a:pt x="162538" y="50770"/>
                    <a:pt x="155916" y="47238"/>
                  </a:cubicBezTo>
                  <a:cubicBezTo>
                    <a:pt x="152347" y="45508"/>
                    <a:pt x="150362" y="41617"/>
                    <a:pt x="151058" y="37713"/>
                  </a:cubicBezTo>
                  <a:lnTo>
                    <a:pt x="151058" y="33712"/>
                  </a:lnTo>
                  <a:cubicBezTo>
                    <a:pt x="151058" y="31141"/>
                    <a:pt x="151058" y="28474"/>
                    <a:pt x="151058" y="25902"/>
                  </a:cubicBezTo>
                  <a:cubicBezTo>
                    <a:pt x="147030" y="24427"/>
                    <a:pt x="142889" y="23280"/>
                    <a:pt x="138675" y="22473"/>
                  </a:cubicBezTo>
                  <a:lnTo>
                    <a:pt x="128579" y="21139"/>
                  </a:lnTo>
                  <a:lnTo>
                    <a:pt x="127436" y="21139"/>
                  </a:lnTo>
                  <a:cubicBezTo>
                    <a:pt x="126388" y="23806"/>
                    <a:pt x="125340" y="26188"/>
                    <a:pt x="124388" y="28664"/>
                  </a:cubicBezTo>
                  <a:lnTo>
                    <a:pt x="123054" y="31807"/>
                  </a:lnTo>
                  <a:cubicBezTo>
                    <a:pt x="121727" y="35897"/>
                    <a:pt x="117824" y="38590"/>
                    <a:pt x="113529" y="38380"/>
                  </a:cubicBezTo>
                  <a:cubicBezTo>
                    <a:pt x="107055" y="38975"/>
                    <a:pt x="100666" y="40285"/>
                    <a:pt x="94479" y="42285"/>
                  </a:cubicBezTo>
                  <a:cubicBezTo>
                    <a:pt x="91002" y="43174"/>
                    <a:pt x="87319" y="42033"/>
                    <a:pt x="84954" y="39332"/>
                  </a:cubicBezTo>
                  <a:lnTo>
                    <a:pt x="76763" y="30569"/>
                  </a:lnTo>
                  <a:lnTo>
                    <a:pt x="76763" y="30569"/>
                  </a:lnTo>
                  <a:cubicBezTo>
                    <a:pt x="74483" y="31597"/>
                    <a:pt x="72258" y="32742"/>
                    <a:pt x="70095" y="33998"/>
                  </a:cubicBezTo>
                  <a:cubicBezTo>
                    <a:pt x="65299" y="36742"/>
                    <a:pt x="60770" y="39932"/>
                    <a:pt x="56570" y="43523"/>
                  </a:cubicBezTo>
                  <a:lnTo>
                    <a:pt x="56570" y="43523"/>
                  </a:lnTo>
                  <a:cubicBezTo>
                    <a:pt x="57999" y="46952"/>
                    <a:pt x="59523" y="50381"/>
                    <a:pt x="61047" y="53715"/>
                  </a:cubicBezTo>
                  <a:cubicBezTo>
                    <a:pt x="64277" y="57669"/>
                    <a:pt x="63815" y="63467"/>
                    <a:pt x="59999" y="66859"/>
                  </a:cubicBezTo>
                  <a:cubicBezTo>
                    <a:pt x="56449" y="70719"/>
                    <a:pt x="53261" y="74895"/>
                    <a:pt x="50474" y="79337"/>
                  </a:cubicBezTo>
                  <a:lnTo>
                    <a:pt x="50474" y="80099"/>
                  </a:lnTo>
                  <a:lnTo>
                    <a:pt x="48950" y="82957"/>
                  </a:lnTo>
                  <a:cubicBezTo>
                    <a:pt x="47152" y="86484"/>
                    <a:pt x="43360" y="88532"/>
                    <a:pt x="39425" y="88100"/>
                  </a:cubicBezTo>
                  <a:lnTo>
                    <a:pt x="27614" y="88100"/>
                  </a:lnTo>
                  <a:cubicBezTo>
                    <a:pt x="25693" y="93512"/>
                    <a:pt x="24290" y="99093"/>
                    <a:pt x="23423" y="104769"/>
                  </a:cubicBezTo>
                  <a:cubicBezTo>
                    <a:pt x="23423" y="106483"/>
                    <a:pt x="22947" y="108293"/>
                    <a:pt x="22756" y="110198"/>
                  </a:cubicBezTo>
                  <a:lnTo>
                    <a:pt x="22756" y="111532"/>
                  </a:lnTo>
                  <a:lnTo>
                    <a:pt x="34091" y="116104"/>
                  </a:lnTo>
                  <a:cubicBezTo>
                    <a:pt x="37735" y="117249"/>
                    <a:pt x="40182" y="120667"/>
                    <a:pt x="40092" y="124486"/>
                  </a:cubicBezTo>
                  <a:cubicBezTo>
                    <a:pt x="40500" y="130650"/>
                    <a:pt x="41586" y="136751"/>
                    <a:pt x="43330" y="142678"/>
                  </a:cubicBezTo>
                  <a:lnTo>
                    <a:pt x="43997" y="145155"/>
                  </a:lnTo>
                  <a:cubicBezTo>
                    <a:pt x="45297" y="148552"/>
                    <a:pt x="44258" y="152399"/>
                    <a:pt x="41425" y="154680"/>
                  </a:cubicBezTo>
                  <a:lnTo>
                    <a:pt x="31900" y="162871"/>
                  </a:lnTo>
                  <a:cubicBezTo>
                    <a:pt x="35431" y="170200"/>
                    <a:pt x="39880" y="177049"/>
                    <a:pt x="45140" y="183255"/>
                  </a:cubicBezTo>
                  <a:lnTo>
                    <a:pt x="56379" y="178302"/>
                  </a:lnTo>
                  <a:cubicBezTo>
                    <a:pt x="59389" y="176596"/>
                    <a:pt x="63121" y="176820"/>
                    <a:pt x="65904" y="178873"/>
                  </a:cubicBezTo>
                  <a:cubicBezTo>
                    <a:pt x="71058" y="183605"/>
                    <a:pt x="76786" y="187669"/>
                    <a:pt x="82954" y="190970"/>
                  </a:cubicBezTo>
                  <a:cubicBezTo>
                    <a:pt x="87371" y="192963"/>
                    <a:pt x="89822" y="197746"/>
                    <a:pt x="88860" y="202495"/>
                  </a:cubicBezTo>
                  <a:cubicBezTo>
                    <a:pt x="88578" y="205726"/>
                    <a:pt x="88483" y="208970"/>
                    <a:pt x="88574" y="212211"/>
                  </a:cubicBezTo>
                  <a:close/>
                  <a:moveTo>
                    <a:pt x="83811" y="210687"/>
                  </a:moveTo>
                  <a:lnTo>
                    <a:pt x="84573" y="210687"/>
                  </a:lnTo>
                  <a:close/>
                  <a:moveTo>
                    <a:pt x="76096" y="203067"/>
                  </a:moveTo>
                  <a:lnTo>
                    <a:pt x="76953" y="203067"/>
                  </a:lnTo>
                  <a:close/>
                  <a:moveTo>
                    <a:pt x="74667" y="199924"/>
                  </a:moveTo>
                  <a:lnTo>
                    <a:pt x="74667" y="199924"/>
                  </a:lnTo>
                  <a:close/>
                  <a:moveTo>
                    <a:pt x="204112" y="162586"/>
                  </a:moveTo>
                  <a:lnTo>
                    <a:pt x="204112" y="163252"/>
                  </a:lnTo>
                  <a:cubicBezTo>
                    <a:pt x="204161" y="163033"/>
                    <a:pt x="204161" y="162805"/>
                    <a:pt x="204112" y="162586"/>
                  </a:cubicBezTo>
                  <a:close/>
                  <a:moveTo>
                    <a:pt x="25518" y="124486"/>
                  </a:moveTo>
                  <a:lnTo>
                    <a:pt x="25518" y="124486"/>
                  </a:lnTo>
                  <a:close/>
                  <a:moveTo>
                    <a:pt x="21899" y="114961"/>
                  </a:moveTo>
                  <a:lnTo>
                    <a:pt x="21899" y="114961"/>
                  </a:lnTo>
                  <a:close/>
                  <a:moveTo>
                    <a:pt x="214399" y="114484"/>
                  </a:moveTo>
                  <a:lnTo>
                    <a:pt x="214399" y="114484"/>
                  </a:lnTo>
                  <a:close/>
                  <a:moveTo>
                    <a:pt x="209732" y="90481"/>
                  </a:moveTo>
                  <a:lnTo>
                    <a:pt x="209732" y="90481"/>
                  </a:lnTo>
                  <a:close/>
                  <a:moveTo>
                    <a:pt x="209732" y="80194"/>
                  </a:moveTo>
                  <a:cubicBezTo>
                    <a:pt x="209732" y="80194"/>
                    <a:pt x="209732" y="80861"/>
                    <a:pt x="210208" y="81147"/>
                  </a:cubicBezTo>
                  <a:cubicBezTo>
                    <a:pt x="210684" y="81433"/>
                    <a:pt x="209827" y="80480"/>
                    <a:pt x="209637" y="80194"/>
                  </a:cubicBezTo>
                  <a:close/>
                  <a:moveTo>
                    <a:pt x="35901" y="76575"/>
                  </a:moveTo>
                  <a:lnTo>
                    <a:pt x="35901" y="76575"/>
                  </a:lnTo>
                  <a:close/>
                  <a:moveTo>
                    <a:pt x="211446" y="74194"/>
                  </a:moveTo>
                  <a:lnTo>
                    <a:pt x="210875" y="74194"/>
                  </a:lnTo>
                  <a:close/>
                  <a:moveTo>
                    <a:pt x="48569" y="60763"/>
                  </a:moveTo>
                  <a:lnTo>
                    <a:pt x="48569" y="61716"/>
                  </a:lnTo>
                  <a:close/>
                  <a:moveTo>
                    <a:pt x="49236" y="57049"/>
                  </a:moveTo>
                  <a:lnTo>
                    <a:pt x="49236" y="57049"/>
                  </a:lnTo>
                  <a:close/>
                  <a:moveTo>
                    <a:pt x="165822" y="39523"/>
                  </a:moveTo>
                  <a:lnTo>
                    <a:pt x="165822" y="40094"/>
                  </a:lnTo>
                  <a:cubicBezTo>
                    <a:pt x="165866" y="39906"/>
                    <a:pt x="165866" y="39711"/>
                    <a:pt x="165822" y="39523"/>
                  </a:cubicBezTo>
                  <a:close/>
                  <a:moveTo>
                    <a:pt x="162774" y="35332"/>
                  </a:moveTo>
                  <a:lnTo>
                    <a:pt x="163345" y="35332"/>
                  </a:lnTo>
                  <a:close/>
                  <a:moveTo>
                    <a:pt x="81430" y="29712"/>
                  </a:moveTo>
                  <a:lnTo>
                    <a:pt x="80859" y="29712"/>
                  </a:lnTo>
                  <a:close/>
                  <a:moveTo>
                    <a:pt x="114482" y="25521"/>
                  </a:moveTo>
                  <a:lnTo>
                    <a:pt x="114482" y="25521"/>
                  </a:lnTo>
                  <a:close/>
                  <a:moveTo>
                    <a:pt x="124674" y="21901"/>
                  </a:moveTo>
                  <a:lnTo>
                    <a:pt x="124674" y="21901"/>
                  </a:lnTo>
                  <a:close/>
                  <a:moveTo>
                    <a:pt x="130293" y="17901"/>
                  </a:moveTo>
                  <a:cubicBezTo>
                    <a:pt x="130293" y="17901"/>
                    <a:pt x="130293" y="18663"/>
                    <a:pt x="130293" y="19044"/>
                  </a:cubicBezTo>
                  <a:cubicBezTo>
                    <a:pt x="130357" y="18570"/>
                    <a:pt x="130357" y="18089"/>
                    <a:pt x="130293" y="1761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0" name="Freeform: Shape 544">
              <a:extLst>
                <a:ext uri="{FF2B5EF4-FFF2-40B4-BE49-F238E27FC236}">
                  <a16:creationId xmlns:a16="http://schemas.microsoft.com/office/drawing/2014/main" id="{784D78AD-9295-CA47-936C-D41C518CF85E}"/>
                </a:ext>
              </a:extLst>
            </p:cNvPr>
            <p:cNvSpPr/>
            <p:nvPr/>
          </p:nvSpPr>
          <p:spPr>
            <a:xfrm>
              <a:off x="3721894" y="5038820"/>
              <a:ext cx="85725" cy="85725"/>
            </a:xfrm>
            <a:custGeom>
              <a:avLst/>
              <a:gdLst>
                <a:gd name="connsiteX0" fmla="*/ 43434 w 85725"/>
                <a:gd name="connsiteY0" fmla="*/ 79724 h 85725"/>
                <a:gd name="connsiteX1" fmla="*/ 7144 w 85725"/>
                <a:gd name="connsiteY1" fmla="*/ 43434 h 85725"/>
                <a:gd name="connsiteX2" fmla="*/ 43434 w 85725"/>
                <a:gd name="connsiteY2" fmla="*/ 7144 h 85725"/>
                <a:gd name="connsiteX3" fmla="*/ 79724 w 85725"/>
                <a:gd name="connsiteY3" fmla="*/ 43434 h 85725"/>
                <a:gd name="connsiteX4" fmla="*/ 43434 w 85725"/>
                <a:gd name="connsiteY4" fmla="*/ 79724 h 85725"/>
                <a:gd name="connsiteX5" fmla="*/ 43434 w 85725"/>
                <a:gd name="connsiteY5" fmla="*/ 21336 h 85725"/>
                <a:gd name="connsiteX6" fmla="*/ 21241 w 85725"/>
                <a:gd name="connsiteY6" fmla="*/ 43338 h 85725"/>
                <a:gd name="connsiteX7" fmla="*/ 43243 w 85725"/>
                <a:gd name="connsiteY7" fmla="*/ 65532 h 85725"/>
                <a:gd name="connsiteX8" fmla="*/ 65436 w 85725"/>
                <a:gd name="connsiteY8" fmla="*/ 43529 h 85725"/>
                <a:gd name="connsiteX9" fmla="*/ 65437 w 85725"/>
                <a:gd name="connsiteY9" fmla="*/ 43434 h 85725"/>
                <a:gd name="connsiteX10" fmla="*/ 43529 w 85725"/>
                <a:gd name="connsiteY10" fmla="*/ 21336 h 85725"/>
                <a:gd name="connsiteX11" fmla="*/ 43434 w 85725"/>
                <a:gd name="connsiteY11" fmla="*/ 21336 h 85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725" h="85725">
                  <a:moveTo>
                    <a:pt x="43434" y="79724"/>
                  </a:moveTo>
                  <a:cubicBezTo>
                    <a:pt x="23391" y="79724"/>
                    <a:pt x="7144" y="63477"/>
                    <a:pt x="7144" y="43434"/>
                  </a:cubicBezTo>
                  <a:cubicBezTo>
                    <a:pt x="7144" y="23391"/>
                    <a:pt x="23391" y="7144"/>
                    <a:pt x="43434" y="7144"/>
                  </a:cubicBezTo>
                  <a:cubicBezTo>
                    <a:pt x="63477" y="7144"/>
                    <a:pt x="79724" y="23391"/>
                    <a:pt x="79724" y="43434"/>
                  </a:cubicBezTo>
                  <a:cubicBezTo>
                    <a:pt x="79672" y="63455"/>
                    <a:pt x="63455" y="79672"/>
                    <a:pt x="43434" y="79724"/>
                  </a:cubicBezTo>
                  <a:close/>
                  <a:moveTo>
                    <a:pt x="43434" y="21336"/>
                  </a:moveTo>
                  <a:cubicBezTo>
                    <a:pt x="31230" y="21283"/>
                    <a:pt x="21294" y="31134"/>
                    <a:pt x="21241" y="43338"/>
                  </a:cubicBezTo>
                  <a:cubicBezTo>
                    <a:pt x="21188" y="55543"/>
                    <a:pt x="31039" y="65479"/>
                    <a:pt x="43243" y="65532"/>
                  </a:cubicBezTo>
                  <a:cubicBezTo>
                    <a:pt x="55448" y="65584"/>
                    <a:pt x="65384" y="55733"/>
                    <a:pt x="65436" y="43529"/>
                  </a:cubicBezTo>
                  <a:cubicBezTo>
                    <a:pt x="65437" y="43497"/>
                    <a:pt x="65437" y="43466"/>
                    <a:pt x="65437" y="43434"/>
                  </a:cubicBezTo>
                  <a:cubicBezTo>
                    <a:pt x="65489" y="31282"/>
                    <a:pt x="55681" y="21389"/>
                    <a:pt x="43529" y="21336"/>
                  </a:cubicBezTo>
                  <a:cubicBezTo>
                    <a:pt x="43498" y="21336"/>
                    <a:pt x="43466" y="21336"/>
                    <a:pt x="43434" y="2133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31" name="Graphic 28">
            <a:extLst>
              <a:ext uri="{FF2B5EF4-FFF2-40B4-BE49-F238E27FC236}">
                <a16:creationId xmlns:a16="http://schemas.microsoft.com/office/drawing/2014/main" id="{358CE987-D343-814A-96C2-D5D83378F3A4}"/>
              </a:ext>
            </a:extLst>
          </p:cNvPr>
          <p:cNvGrpSpPr>
            <a:grpSpLocks noChangeAspect="1"/>
          </p:cNvGrpSpPr>
          <p:nvPr/>
        </p:nvGrpSpPr>
        <p:grpSpPr>
          <a:xfrm>
            <a:off x="3976621" y="3156314"/>
            <a:ext cx="1371600" cy="1371600"/>
            <a:chOff x="2667000" y="2209800"/>
            <a:chExt cx="1714500" cy="1714500"/>
          </a:xfrm>
        </p:grpSpPr>
        <p:sp>
          <p:nvSpPr>
            <p:cNvPr id="132" name="Freeform: Shape 527">
              <a:extLst>
                <a:ext uri="{FF2B5EF4-FFF2-40B4-BE49-F238E27FC236}">
                  <a16:creationId xmlns:a16="http://schemas.microsoft.com/office/drawing/2014/main" id="{4DDE9B4C-9CB7-3A4D-AE31-F4319794A644}"/>
                </a:ext>
              </a:extLst>
            </p:cNvPr>
            <p:cNvSpPr/>
            <p:nvPr/>
          </p:nvSpPr>
          <p:spPr>
            <a:xfrm>
              <a:off x="2855404" y="2455735"/>
              <a:ext cx="1266825" cy="1266825"/>
            </a:xfrm>
            <a:custGeom>
              <a:avLst/>
              <a:gdLst>
                <a:gd name="connsiteX0" fmla="*/ 636842 w 1266825"/>
                <a:gd name="connsiteY0" fmla="*/ 1266539 h 1266825"/>
                <a:gd name="connsiteX1" fmla="*/ 7144 w 1266825"/>
                <a:gd name="connsiteY1" fmla="*/ 636842 h 1266825"/>
                <a:gd name="connsiteX2" fmla="*/ 636842 w 1266825"/>
                <a:gd name="connsiteY2" fmla="*/ 7144 h 1266825"/>
                <a:gd name="connsiteX3" fmla="*/ 1266539 w 1266825"/>
                <a:gd name="connsiteY3" fmla="*/ 636842 h 1266825"/>
                <a:gd name="connsiteX4" fmla="*/ 636842 w 1266825"/>
                <a:gd name="connsiteY4" fmla="*/ 1266539 h 1266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6825" h="1266825">
                  <a:moveTo>
                    <a:pt x="636842" y="1266539"/>
                  </a:moveTo>
                  <a:cubicBezTo>
                    <a:pt x="289069" y="1266539"/>
                    <a:pt x="7144" y="984614"/>
                    <a:pt x="7144" y="636842"/>
                  </a:cubicBezTo>
                  <a:cubicBezTo>
                    <a:pt x="7144" y="289069"/>
                    <a:pt x="289069" y="7144"/>
                    <a:pt x="636842" y="7144"/>
                  </a:cubicBezTo>
                  <a:cubicBezTo>
                    <a:pt x="984614" y="7144"/>
                    <a:pt x="1266539" y="289069"/>
                    <a:pt x="1266539" y="636842"/>
                  </a:cubicBezTo>
                  <a:cubicBezTo>
                    <a:pt x="1266119" y="984440"/>
                    <a:pt x="984440" y="1266119"/>
                    <a:pt x="636842" y="126653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3" name="Freeform: Shape 528">
              <a:extLst>
                <a:ext uri="{FF2B5EF4-FFF2-40B4-BE49-F238E27FC236}">
                  <a16:creationId xmlns:a16="http://schemas.microsoft.com/office/drawing/2014/main" id="{C88BEF3F-7B01-F548-A3A6-DD72D85C960A}"/>
                </a:ext>
              </a:extLst>
            </p:cNvPr>
            <p:cNvSpPr/>
            <p:nvPr/>
          </p:nvSpPr>
          <p:spPr>
            <a:xfrm>
              <a:off x="3071146" y="2735294"/>
              <a:ext cx="819150" cy="581025"/>
            </a:xfrm>
            <a:custGeom>
              <a:avLst/>
              <a:gdLst>
                <a:gd name="connsiteX0" fmla="*/ 758857 w 819150"/>
                <a:gd name="connsiteY0" fmla="*/ 579406 h 581025"/>
                <a:gd name="connsiteX1" fmla="*/ 711994 w 819150"/>
                <a:gd name="connsiteY1" fmla="*/ 579406 h 581025"/>
                <a:gd name="connsiteX2" fmla="*/ 697421 w 819150"/>
                <a:gd name="connsiteY2" fmla="*/ 564833 h 581025"/>
                <a:gd name="connsiteX3" fmla="*/ 711994 w 819150"/>
                <a:gd name="connsiteY3" fmla="*/ 550259 h 581025"/>
                <a:gd name="connsiteX4" fmla="*/ 758857 w 819150"/>
                <a:gd name="connsiteY4" fmla="*/ 550259 h 581025"/>
                <a:gd name="connsiteX5" fmla="*/ 786479 w 819150"/>
                <a:gd name="connsiteY5" fmla="*/ 522257 h 581025"/>
                <a:gd name="connsiteX6" fmla="*/ 786479 w 819150"/>
                <a:gd name="connsiteY6" fmla="*/ 522256 h 581025"/>
                <a:gd name="connsiteX7" fmla="*/ 786479 w 819150"/>
                <a:gd name="connsiteY7" fmla="*/ 64294 h 581025"/>
                <a:gd name="connsiteX8" fmla="*/ 758857 w 819150"/>
                <a:gd name="connsiteY8" fmla="*/ 36481 h 581025"/>
                <a:gd name="connsiteX9" fmla="*/ 64294 w 819150"/>
                <a:gd name="connsiteY9" fmla="*/ 36481 h 581025"/>
                <a:gd name="connsiteX10" fmla="*/ 36481 w 819150"/>
                <a:gd name="connsiteY10" fmla="*/ 64294 h 581025"/>
                <a:gd name="connsiteX11" fmla="*/ 36481 w 819150"/>
                <a:gd name="connsiteY11" fmla="*/ 522256 h 581025"/>
                <a:gd name="connsiteX12" fmla="*/ 64294 w 819150"/>
                <a:gd name="connsiteY12" fmla="*/ 550069 h 581025"/>
                <a:gd name="connsiteX13" fmla="*/ 415004 w 819150"/>
                <a:gd name="connsiteY13" fmla="*/ 550069 h 581025"/>
                <a:gd name="connsiteX14" fmla="*/ 429673 w 819150"/>
                <a:gd name="connsiteY14" fmla="*/ 564737 h 581025"/>
                <a:gd name="connsiteX15" fmla="*/ 415004 w 819150"/>
                <a:gd name="connsiteY15" fmla="*/ 579406 h 581025"/>
                <a:gd name="connsiteX16" fmla="*/ 64294 w 819150"/>
                <a:gd name="connsiteY16" fmla="*/ 579406 h 581025"/>
                <a:gd name="connsiteX17" fmla="*/ 7144 w 819150"/>
                <a:gd name="connsiteY17" fmla="*/ 522256 h 581025"/>
                <a:gd name="connsiteX18" fmla="*/ 7144 w 819150"/>
                <a:gd name="connsiteY18" fmla="*/ 64294 h 581025"/>
                <a:gd name="connsiteX19" fmla="*/ 64294 w 819150"/>
                <a:gd name="connsiteY19" fmla="*/ 7144 h 581025"/>
                <a:gd name="connsiteX20" fmla="*/ 758857 w 819150"/>
                <a:gd name="connsiteY20" fmla="*/ 7144 h 581025"/>
                <a:gd name="connsiteX21" fmla="*/ 816007 w 819150"/>
                <a:gd name="connsiteY21" fmla="*/ 64294 h 581025"/>
                <a:gd name="connsiteX22" fmla="*/ 816007 w 819150"/>
                <a:gd name="connsiteY22" fmla="*/ 522256 h 581025"/>
                <a:gd name="connsiteX23" fmla="*/ 758857 w 819150"/>
                <a:gd name="connsiteY23" fmla="*/ 579406 h 581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19150" h="581025">
                  <a:moveTo>
                    <a:pt x="758857" y="579406"/>
                  </a:moveTo>
                  <a:lnTo>
                    <a:pt x="711994" y="579406"/>
                  </a:lnTo>
                  <a:cubicBezTo>
                    <a:pt x="703945" y="579406"/>
                    <a:pt x="697421" y="572881"/>
                    <a:pt x="697421" y="564833"/>
                  </a:cubicBezTo>
                  <a:cubicBezTo>
                    <a:pt x="697421" y="556784"/>
                    <a:pt x="703945" y="550259"/>
                    <a:pt x="711994" y="550259"/>
                  </a:cubicBezTo>
                  <a:lnTo>
                    <a:pt x="758857" y="550259"/>
                  </a:lnTo>
                  <a:cubicBezTo>
                    <a:pt x="774217" y="550154"/>
                    <a:pt x="786584" y="537617"/>
                    <a:pt x="786479" y="522257"/>
                  </a:cubicBezTo>
                  <a:cubicBezTo>
                    <a:pt x="786479" y="522257"/>
                    <a:pt x="786479" y="522256"/>
                    <a:pt x="786479" y="522256"/>
                  </a:cubicBezTo>
                  <a:lnTo>
                    <a:pt x="786479" y="64294"/>
                  </a:lnTo>
                  <a:cubicBezTo>
                    <a:pt x="786480" y="49007"/>
                    <a:pt x="774143" y="36585"/>
                    <a:pt x="758857" y="36481"/>
                  </a:cubicBezTo>
                  <a:lnTo>
                    <a:pt x="64294" y="36481"/>
                  </a:lnTo>
                  <a:cubicBezTo>
                    <a:pt x="48933" y="36481"/>
                    <a:pt x="36481" y="48933"/>
                    <a:pt x="36481" y="64294"/>
                  </a:cubicBezTo>
                  <a:lnTo>
                    <a:pt x="36481" y="522256"/>
                  </a:lnTo>
                  <a:cubicBezTo>
                    <a:pt x="36481" y="537616"/>
                    <a:pt x="48933" y="550069"/>
                    <a:pt x="64294" y="550069"/>
                  </a:cubicBezTo>
                  <a:lnTo>
                    <a:pt x="415004" y="550069"/>
                  </a:lnTo>
                  <a:cubicBezTo>
                    <a:pt x="423105" y="550069"/>
                    <a:pt x="429673" y="556636"/>
                    <a:pt x="429673" y="564737"/>
                  </a:cubicBezTo>
                  <a:cubicBezTo>
                    <a:pt x="429673" y="572838"/>
                    <a:pt x="423105" y="579406"/>
                    <a:pt x="415004" y="579406"/>
                  </a:cubicBezTo>
                  <a:lnTo>
                    <a:pt x="64294" y="579406"/>
                  </a:lnTo>
                  <a:cubicBezTo>
                    <a:pt x="32731" y="579406"/>
                    <a:pt x="7144" y="553819"/>
                    <a:pt x="7144" y="522256"/>
                  </a:cubicBezTo>
                  <a:lnTo>
                    <a:pt x="7144" y="64294"/>
                  </a:lnTo>
                  <a:cubicBezTo>
                    <a:pt x="7144" y="32731"/>
                    <a:pt x="32731" y="7144"/>
                    <a:pt x="64294" y="7144"/>
                  </a:cubicBezTo>
                  <a:lnTo>
                    <a:pt x="758857" y="7144"/>
                  </a:lnTo>
                  <a:cubicBezTo>
                    <a:pt x="790420" y="7144"/>
                    <a:pt x="816007" y="32731"/>
                    <a:pt x="816007" y="64294"/>
                  </a:cubicBezTo>
                  <a:lnTo>
                    <a:pt x="816007" y="522256"/>
                  </a:lnTo>
                  <a:cubicBezTo>
                    <a:pt x="816007" y="553819"/>
                    <a:pt x="790420" y="579406"/>
                    <a:pt x="758857" y="57940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4" name="Freeform: Shape 529">
              <a:extLst>
                <a:ext uri="{FF2B5EF4-FFF2-40B4-BE49-F238E27FC236}">
                  <a16:creationId xmlns:a16="http://schemas.microsoft.com/office/drawing/2014/main" id="{B3AB6069-274F-2141-AA6C-8704783EB259}"/>
                </a:ext>
              </a:extLst>
            </p:cNvPr>
            <p:cNvSpPr/>
            <p:nvPr/>
          </p:nvSpPr>
          <p:spPr>
            <a:xfrm>
              <a:off x="3506057" y="3053429"/>
              <a:ext cx="247650" cy="247650"/>
            </a:xfrm>
            <a:custGeom>
              <a:avLst/>
              <a:gdLst>
                <a:gd name="connsiteX0" fmla="*/ 124015 w 247650"/>
                <a:gd name="connsiteY0" fmla="*/ 240887 h 247650"/>
                <a:gd name="connsiteX1" fmla="*/ 7144 w 247650"/>
                <a:gd name="connsiteY1" fmla="*/ 124015 h 247650"/>
                <a:gd name="connsiteX2" fmla="*/ 124015 w 247650"/>
                <a:gd name="connsiteY2" fmla="*/ 7144 h 247650"/>
                <a:gd name="connsiteX3" fmla="*/ 240887 w 247650"/>
                <a:gd name="connsiteY3" fmla="*/ 124015 h 247650"/>
                <a:gd name="connsiteX4" fmla="*/ 124015 w 247650"/>
                <a:gd name="connsiteY4" fmla="*/ 240887 h 247650"/>
                <a:gd name="connsiteX5" fmla="*/ 124015 w 247650"/>
                <a:gd name="connsiteY5" fmla="*/ 36290 h 247650"/>
                <a:gd name="connsiteX6" fmla="*/ 36290 w 247650"/>
                <a:gd name="connsiteY6" fmla="*/ 124015 h 247650"/>
                <a:gd name="connsiteX7" fmla="*/ 124015 w 247650"/>
                <a:gd name="connsiteY7" fmla="*/ 211741 h 247650"/>
                <a:gd name="connsiteX8" fmla="*/ 211741 w 247650"/>
                <a:gd name="connsiteY8" fmla="*/ 124015 h 247650"/>
                <a:gd name="connsiteX9" fmla="*/ 124015 w 247650"/>
                <a:gd name="connsiteY9" fmla="*/ 36290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7650" h="247650">
                  <a:moveTo>
                    <a:pt x="124015" y="240887"/>
                  </a:moveTo>
                  <a:cubicBezTo>
                    <a:pt x="59469" y="240887"/>
                    <a:pt x="7144" y="188562"/>
                    <a:pt x="7144" y="124015"/>
                  </a:cubicBezTo>
                  <a:cubicBezTo>
                    <a:pt x="7144" y="59469"/>
                    <a:pt x="59469" y="7144"/>
                    <a:pt x="124015" y="7144"/>
                  </a:cubicBezTo>
                  <a:cubicBezTo>
                    <a:pt x="188562" y="7144"/>
                    <a:pt x="240887" y="59469"/>
                    <a:pt x="240887" y="124015"/>
                  </a:cubicBezTo>
                  <a:cubicBezTo>
                    <a:pt x="240835" y="188540"/>
                    <a:pt x="188540" y="240835"/>
                    <a:pt x="124015" y="240887"/>
                  </a:cubicBezTo>
                  <a:close/>
                  <a:moveTo>
                    <a:pt x="124015" y="36290"/>
                  </a:moveTo>
                  <a:cubicBezTo>
                    <a:pt x="75566" y="36290"/>
                    <a:pt x="36290" y="75566"/>
                    <a:pt x="36290" y="124015"/>
                  </a:cubicBezTo>
                  <a:cubicBezTo>
                    <a:pt x="36290" y="172465"/>
                    <a:pt x="75566" y="211741"/>
                    <a:pt x="124015" y="211741"/>
                  </a:cubicBezTo>
                  <a:cubicBezTo>
                    <a:pt x="172465" y="211741"/>
                    <a:pt x="211741" y="172465"/>
                    <a:pt x="211741" y="124015"/>
                  </a:cubicBezTo>
                  <a:cubicBezTo>
                    <a:pt x="211688" y="75588"/>
                    <a:pt x="172443" y="36343"/>
                    <a:pt x="124015" y="3629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5" name="Freeform: Shape 530">
              <a:extLst>
                <a:ext uri="{FF2B5EF4-FFF2-40B4-BE49-F238E27FC236}">
                  <a16:creationId xmlns:a16="http://schemas.microsoft.com/office/drawing/2014/main" id="{FB69E737-E154-E84B-8DD9-EF9033C36286}"/>
                </a:ext>
              </a:extLst>
            </p:cNvPr>
            <p:cNvSpPr/>
            <p:nvPr/>
          </p:nvSpPr>
          <p:spPr>
            <a:xfrm>
              <a:off x="3413378" y="3192403"/>
              <a:ext cx="228600" cy="266700"/>
            </a:xfrm>
            <a:custGeom>
              <a:avLst/>
              <a:gdLst>
                <a:gd name="connsiteX0" fmla="*/ 129351 w 228600"/>
                <a:gd name="connsiteY0" fmla="*/ 269077 h 266700"/>
                <a:gd name="connsiteX1" fmla="*/ 128208 w 228600"/>
                <a:gd name="connsiteY1" fmla="*/ 269077 h 266700"/>
                <a:gd name="connsiteX2" fmla="*/ 115635 w 228600"/>
                <a:gd name="connsiteY2" fmla="*/ 259552 h 266700"/>
                <a:gd name="connsiteX3" fmla="*/ 91822 w 228600"/>
                <a:gd name="connsiteY3" fmla="*/ 193258 h 266700"/>
                <a:gd name="connsiteX4" fmla="*/ 25147 w 228600"/>
                <a:gd name="connsiteY4" fmla="*/ 209546 h 266700"/>
                <a:gd name="connsiteX5" fmla="*/ 10098 w 228600"/>
                <a:gd name="connsiteY5" fmla="*/ 204212 h 266700"/>
                <a:gd name="connsiteX6" fmla="*/ 9050 w 228600"/>
                <a:gd name="connsiteY6" fmla="*/ 188210 h 266700"/>
                <a:gd name="connsiteX7" fmla="*/ 108967 w 228600"/>
                <a:gd name="connsiteY7" fmla="*/ 14474 h 266700"/>
                <a:gd name="connsiteX8" fmla="*/ 128922 w 228600"/>
                <a:gd name="connsiteY8" fmla="*/ 9092 h 266700"/>
                <a:gd name="connsiteX9" fmla="*/ 134304 w 228600"/>
                <a:gd name="connsiteY9" fmla="*/ 29047 h 266700"/>
                <a:gd name="connsiteX10" fmla="*/ 51341 w 228600"/>
                <a:gd name="connsiteY10" fmla="*/ 173256 h 266700"/>
                <a:gd name="connsiteX11" fmla="*/ 97918 w 228600"/>
                <a:gd name="connsiteY11" fmla="*/ 161826 h 266700"/>
                <a:gd name="connsiteX12" fmla="*/ 115063 w 228600"/>
                <a:gd name="connsiteY12" fmla="*/ 171351 h 266700"/>
                <a:gd name="connsiteX13" fmla="*/ 131923 w 228600"/>
                <a:gd name="connsiteY13" fmla="*/ 218976 h 266700"/>
                <a:gd name="connsiteX14" fmla="*/ 201360 w 228600"/>
                <a:gd name="connsiteY14" fmla="*/ 90388 h 266700"/>
                <a:gd name="connsiteX15" fmla="*/ 221172 w 228600"/>
                <a:gd name="connsiteY15" fmla="*/ 84483 h 266700"/>
                <a:gd name="connsiteX16" fmla="*/ 227077 w 228600"/>
                <a:gd name="connsiteY16" fmla="*/ 104295 h 266700"/>
                <a:gd name="connsiteX17" fmla="*/ 142019 w 228600"/>
                <a:gd name="connsiteY17" fmla="*/ 261743 h 266700"/>
                <a:gd name="connsiteX18" fmla="*/ 129351 w 228600"/>
                <a:gd name="connsiteY18" fmla="*/ 269077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8600" h="266700">
                  <a:moveTo>
                    <a:pt x="129351" y="269077"/>
                  </a:moveTo>
                  <a:lnTo>
                    <a:pt x="128208" y="269077"/>
                  </a:lnTo>
                  <a:cubicBezTo>
                    <a:pt x="122494" y="268688"/>
                    <a:pt x="117556" y="264947"/>
                    <a:pt x="115635" y="259552"/>
                  </a:cubicBezTo>
                  <a:lnTo>
                    <a:pt x="91822" y="193258"/>
                  </a:lnTo>
                  <a:lnTo>
                    <a:pt x="25147" y="209546"/>
                  </a:lnTo>
                  <a:cubicBezTo>
                    <a:pt x="19513" y="210998"/>
                    <a:pt x="13560" y="208889"/>
                    <a:pt x="10098" y="204212"/>
                  </a:cubicBezTo>
                  <a:cubicBezTo>
                    <a:pt x="6581" y="199567"/>
                    <a:pt x="6169" y="193274"/>
                    <a:pt x="9050" y="188210"/>
                  </a:cubicBezTo>
                  <a:lnTo>
                    <a:pt x="108967" y="14474"/>
                  </a:lnTo>
                  <a:cubicBezTo>
                    <a:pt x="112992" y="7477"/>
                    <a:pt x="121926" y="5068"/>
                    <a:pt x="128922" y="9092"/>
                  </a:cubicBezTo>
                  <a:cubicBezTo>
                    <a:pt x="135919" y="13117"/>
                    <a:pt x="138328" y="22051"/>
                    <a:pt x="134304" y="29047"/>
                  </a:cubicBezTo>
                  <a:lnTo>
                    <a:pt x="51341" y="173256"/>
                  </a:lnTo>
                  <a:lnTo>
                    <a:pt x="97918" y="161826"/>
                  </a:lnTo>
                  <a:cubicBezTo>
                    <a:pt x="105234" y="160105"/>
                    <a:pt x="112659" y="164230"/>
                    <a:pt x="115063" y="171351"/>
                  </a:cubicBezTo>
                  <a:lnTo>
                    <a:pt x="131923" y="218976"/>
                  </a:lnTo>
                  <a:lnTo>
                    <a:pt x="201360" y="90388"/>
                  </a:lnTo>
                  <a:cubicBezTo>
                    <a:pt x="205200" y="83287"/>
                    <a:pt x="214070" y="80643"/>
                    <a:pt x="221172" y="84483"/>
                  </a:cubicBezTo>
                  <a:cubicBezTo>
                    <a:pt x="228273" y="88323"/>
                    <a:pt x="230917" y="97193"/>
                    <a:pt x="227077" y="104295"/>
                  </a:cubicBezTo>
                  <a:lnTo>
                    <a:pt x="142019" y="261743"/>
                  </a:lnTo>
                  <a:cubicBezTo>
                    <a:pt x="139391" y="266256"/>
                    <a:pt x="134574" y="269045"/>
                    <a:pt x="129351" y="26907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6" name="Freeform: Shape 531">
              <a:extLst>
                <a:ext uri="{FF2B5EF4-FFF2-40B4-BE49-F238E27FC236}">
                  <a16:creationId xmlns:a16="http://schemas.microsoft.com/office/drawing/2014/main" id="{B2D16953-A463-3045-8BC1-7C5390FD526F}"/>
                </a:ext>
              </a:extLst>
            </p:cNvPr>
            <p:cNvSpPr/>
            <p:nvPr/>
          </p:nvSpPr>
          <p:spPr>
            <a:xfrm>
              <a:off x="3610616" y="3202380"/>
              <a:ext cx="228600" cy="257175"/>
            </a:xfrm>
            <a:custGeom>
              <a:avLst/>
              <a:gdLst>
                <a:gd name="connsiteX0" fmla="*/ 106705 w 228600"/>
                <a:gd name="connsiteY0" fmla="*/ 259100 h 257175"/>
                <a:gd name="connsiteX1" fmla="*/ 93847 w 228600"/>
                <a:gd name="connsiteY1" fmla="*/ 251385 h 257175"/>
                <a:gd name="connsiteX2" fmla="*/ 8884 w 228600"/>
                <a:gd name="connsiteY2" fmla="*/ 93936 h 257175"/>
                <a:gd name="connsiteX3" fmla="*/ 14837 w 228600"/>
                <a:gd name="connsiteY3" fmla="*/ 74172 h 257175"/>
                <a:gd name="connsiteX4" fmla="*/ 34601 w 228600"/>
                <a:gd name="connsiteY4" fmla="*/ 80125 h 257175"/>
                <a:gd name="connsiteX5" fmla="*/ 103943 w 228600"/>
                <a:gd name="connsiteY5" fmla="*/ 208713 h 257175"/>
                <a:gd name="connsiteX6" fmla="*/ 120802 w 228600"/>
                <a:gd name="connsiteY6" fmla="*/ 161088 h 257175"/>
                <a:gd name="connsiteX7" fmla="*/ 137947 w 228600"/>
                <a:gd name="connsiteY7" fmla="*/ 151563 h 257175"/>
                <a:gd name="connsiteX8" fmla="*/ 184525 w 228600"/>
                <a:gd name="connsiteY8" fmla="*/ 162993 h 257175"/>
                <a:gd name="connsiteX9" fmla="*/ 107467 w 228600"/>
                <a:gd name="connsiteY9" fmla="*/ 28976 h 257175"/>
                <a:gd name="connsiteX10" fmla="*/ 112897 w 228600"/>
                <a:gd name="connsiteY10" fmla="*/ 9069 h 257175"/>
                <a:gd name="connsiteX11" fmla="*/ 132804 w 228600"/>
                <a:gd name="connsiteY11" fmla="*/ 14498 h 257175"/>
                <a:gd name="connsiteX12" fmla="*/ 226816 w 228600"/>
                <a:gd name="connsiteY12" fmla="*/ 177947 h 257175"/>
                <a:gd name="connsiteX13" fmla="*/ 225768 w 228600"/>
                <a:gd name="connsiteY13" fmla="*/ 193949 h 257175"/>
                <a:gd name="connsiteX14" fmla="*/ 210718 w 228600"/>
                <a:gd name="connsiteY14" fmla="*/ 199283 h 257175"/>
                <a:gd name="connsiteX15" fmla="*/ 144043 w 228600"/>
                <a:gd name="connsiteY15" fmla="*/ 182995 h 257175"/>
                <a:gd name="connsiteX16" fmla="*/ 120612 w 228600"/>
                <a:gd name="connsiteY16" fmla="*/ 249099 h 257175"/>
                <a:gd name="connsiteX17" fmla="*/ 108039 w 228600"/>
                <a:gd name="connsiteY17" fmla="*/ 258624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28600" h="257175">
                  <a:moveTo>
                    <a:pt x="106705" y="259100"/>
                  </a:moveTo>
                  <a:cubicBezTo>
                    <a:pt x="101329" y="259079"/>
                    <a:pt x="96395" y="256119"/>
                    <a:pt x="93847" y="251385"/>
                  </a:cubicBezTo>
                  <a:lnTo>
                    <a:pt x="8884" y="93936"/>
                  </a:lnTo>
                  <a:cubicBezTo>
                    <a:pt x="5070" y="86835"/>
                    <a:pt x="7735" y="77986"/>
                    <a:pt x="14837" y="74172"/>
                  </a:cubicBezTo>
                  <a:cubicBezTo>
                    <a:pt x="21938" y="70358"/>
                    <a:pt x="30787" y="73023"/>
                    <a:pt x="34601" y="80125"/>
                  </a:cubicBezTo>
                  <a:lnTo>
                    <a:pt x="103943" y="208713"/>
                  </a:lnTo>
                  <a:lnTo>
                    <a:pt x="120802" y="161088"/>
                  </a:lnTo>
                  <a:cubicBezTo>
                    <a:pt x="123206" y="153967"/>
                    <a:pt x="130631" y="149842"/>
                    <a:pt x="137947" y="151563"/>
                  </a:cubicBezTo>
                  <a:lnTo>
                    <a:pt x="184525" y="162993"/>
                  </a:lnTo>
                  <a:lnTo>
                    <a:pt x="107467" y="28976"/>
                  </a:lnTo>
                  <a:cubicBezTo>
                    <a:pt x="103469" y="21979"/>
                    <a:pt x="105900" y="13067"/>
                    <a:pt x="112897" y="9069"/>
                  </a:cubicBezTo>
                  <a:cubicBezTo>
                    <a:pt x="119893" y="5071"/>
                    <a:pt x="128806" y="7501"/>
                    <a:pt x="132804" y="14498"/>
                  </a:cubicBezTo>
                  <a:lnTo>
                    <a:pt x="226816" y="177947"/>
                  </a:lnTo>
                  <a:cubicBezTo>
                    <a:pt x="229696" y="183011"/>
                    <a:pt x="229284" y="189304"/>
                    <a:pt x="225768" y="193949"/>
                  </a:cubicBezTo>
                  <a:cubicBezTo>
                    <a:pt x="222305" y="198626"/>
                    <a:pt x="216353" y="200735"/>
                    <a:pt x="210718" y="199283"/>
                  </a:cubicBezTo>
                  <a:lnTo>
                    <a:pt x="144043" y="182995"/>
                  </a:lnTo>
                  <a:lnTo>
                    <a:pt x="120612" y="249099"/>
                  </a:lnTo>
                  <a:cubicBezTo>
                    <a:pt x="118691" y="254494"/>
                    <a:pt x="113752" y="258235"/>
                    <a:pt x="108039" y="25862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7" name="Freeform: Shape 532">
              <a:extLst>
                <a:ext uri="{FF2B5EF4-FFF2-40B4-BE49-F238E27FC236}">
                  <a16:creationId xmlns:a16="http://schemas.microsoft.com/office/drawing/2014/main" id="{C750DCF8-AB9F-9E47-BA44-6D17A923BA23}"/>
                </a:ext>
              </a:extLst>
            </p:cNvPr>
            <p:cNvSpPr/>
            <p:nvPr/>
          </p:nvSpPr>
          <p:spPr>
            <a:xfrm>
              <a:off x="3166967" y="2852642"/>
              <a:ext cx="628650" cy="38100"/>
            </a:xfrm>
            <a:custGeom>
              <a:avLst/>
              <a:gdLst>
                <a:gd name="connsiteX0" fmla="*/ 613696 w 628650"/>
                <a:gd name="connsiteY0" fmla="*/ 36290 h 38100"/>
                <a:gd name="connsiteX1" fmla="*/ 21717 w 628650"/>
                <a:gd name="connsiteY1" fmla="*/ 36290 h 38100"/>
                <a:gd name="connsiteX2" fmla="*/ 7144 w 628650"/>
                <a:gd name="connsiteY2" fmla="*/ 21717 h 38100"/>
                <a:gd name="connsiteX3" fmla="*/ 21717 w 628650"/>
                <a:gd name="connsiteY3" fmla="*/ 7144 h 38100"/>
                <a:gd name="connsiteX4" fmla="*/ 613696 w 628650"/>
                <a:gd name="connsiteY4" fmla="*/ 7144 h 38100"/>
                <a:gd name="connsiteX5" fmla="*/ 628269 w 628650"/>
                <a:gd name="connsiteY5" fmla="*/ 21717 h 38100"/>
                <a:gd name="connsiteX6" fmla="*/ 613696 w 628650"/>
                <a:gd name="connsiteY6" fmla="*/ 3629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8650" h="38100">
                  <a:moveTo>
                    <a:pt x="613696" y="36290"/>
                  </a:moveTo>
                  <a:lnTo>
                    <a:pt x="21717" y="36290"/>
                  </a:lnTo>
                  <a:cubicBezTo>
                    <a:pt x="13668" y="36290"/>
                    <a:pt x="7144" y="29766"/>
                    <a:pt x="7144" y="21717"/>
                  </a:cubicBezTo>
                  <a:cubicBezTo>
                    <a:pt x="7144" y="13668"/>
                    <a:pt x="13668" y="7144"/>
                    <a:pt x="21717" y="7144"/>
                  </a:cubicBezTo>
                  <a:lnTo>
                    <a:pt x="613696" y="7144"/>
                  </a:lnTo>
                  <a:cubicBezTo>
                    <a:pt x="621744" y="7144"/>
                    <a:pt x="628269" y="13668"/>
                    <a:pt x="628269" y="21717"/>
                  </a:cubicBezTo>
                  <a:cubicBezTo>
                    <a:pt x="628269" y="29766"/>
                    <a:pt x="621744" y="36290"/>
                    <a:pt x="613696" y="36290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8" name="Freeform: Shape 533">
              <a:extLst>
                <a:ext uri="{FF2B5EF4-FFF2-40B4-BE49-F238E27FC236}">
                  <a16:creationId xmlns:a16="http://schemas.microsoft.com/office/drawing/2014/main" id="{ACAD67B4-F200-624F-901F-3AC1A17A1845}"/>
                </a:ext>
              </a:extLst>
            </p:cNvPr>
            <p:cNvSpPr/>
            <p:nvPr/>
          </p:nvSpPr>
          <p:spPr>
            <a:xfrm>
              <a:off x="3164300" y="3039523"/>
              <a:ext cx="247650" cy="47625"/>
            </a:xfrm>
            <a:custGeom>
              <a:avLst/>
              <a:gdLst>
                <a:gd name="connsiteX0" fmla="*/ 231743 w 247650"/>
                <a:gd name="connsiteY0" fmla="*/ 41624 h 47625"/>
                <a:gd name="connsiteX1" fmla="*/ 24384 w 247650"/>
                <a:gd name="connsiteY1" fmla="*/ 41624 h 47625"/>
                <a:gd name="connsiteX2" fmla="*/ 7144 w 247650"/>
                <a:gd name="connsiteY2" fmla="*/ 24384 h 47625"/>
                <a:gd name="connsiteX3" fmla="*/ 24384 w 247650"/>
                <a:gd name="connsiteY3" fmla="*/ 7144 h 47625"/>
                <a:gd name="connsiteX4" fmla="*/ 231743 w 247650"/>
                <a:gd name="connsiteY4" fmla="*/ 7144 h 47625"/>
                <a:gd name="connsiteX5" fmla="*/ 248984 w 247650"/>
                <a:gd name="connsiteY5" fmla="*/ 24384 h 47625"/>
                <a:gd name="connsiteX6" fmla="*/ 231743 w 247650"/>
                <a:gd name="connsiteY6" fmla="*/ 4162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650" h="47625">
                  <a:moveTo>
                    <a:pt x="231743" y="41624"/>
                  </a:moveTo>
                  <a:lnTo>
                    <a:pt x="24384" y="41624"/>
                  </a:lnTo>
                  <a:cubicBezTo>
                    <a:pt x="14863" y="41624"/>
                    <a:pt x="7144" y="33906"/>
                    <a:pt x="7144" y="24384"/>
                  </a:cubicBezTo>
                  <a:cubicBezTo>
                    <a:pt x="7144" y="14863"/>
                    <a:pt x="14862" y="7144"/>
                    <a:pt x="24384" y="7144"/>
                  </a:cubicBezTo>
                  <a:lnTo>
                    <a:pt x="231743" y="7144"/>
                  </a:lnTo>
                  <a:cubicBezTo>
                    <a:pt x="241265" y="7144"/>
                    <a:pt x="248984" y="14862"/>
                    <a:pt x="248984" y="24384"/>
                  </a:cubicBezTo>
                  <a:cubicBezTo>
                    <a:pt x="248984" y="33905"/>
                    <a:pt x="241265" y="41624"/>
                    <a:pt x="231743" y="4162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9" name="Freeform: Shape 534">
              <a:extLst>
                <a:ext uri="{FF2B5EF4-FFF2-40B4-BE49-F238E27FC236}">
                  <a16:creationId xmlns:a16="http://schemas.microsoft.com/office/drawing/2014/main" id="{69742FEA-4E6D-EA4B-B24D-6984F3D71FA1}"/>
                </a:ext>
              </a:extLst>
            </p:cNvPr>
            <p:cNvSpPr/>
            <p:nvPr/>
          </p:nvSpPr>
          <p:spPr>
            <a:xfrm>
              <a:off x="3164300" y="3122485"/>
              <a:ext cx="247650" cy="47625"/>
            </a:xfrm>
            <a:custGeom>
              <a:avLst/>
              <a:gdLst>
                <a:gd name="connsiteX0" fmla="*/ 231743 w 247650"/>
                <a:gd name="connsiteY0" fmla="*/ 41624 h 47625"/>
                <a:gd name="connsiteX1" fmla="*/ 24384 w 247650"/>
                <a:gd name="connsiteY1" fmla="*/ 41624 h 47625"/>
                <a:gd name="connsiteX2" fmla="*/ 7144 w 247650"/>
                <a:gd name="connsiteY2" fmla="*/ 24384 h 47625"/>
                <a:gd name="connsiteX3" fmla="*/ 24384 w 247650"/>
                <a:gd name="connsiteY3" fmla="*/ 7144 h 47625"/>
                <a:gd name="connsiteX4" fmla="*/ 231743 w 247650"/>
                <a:gd name="connsiteY4" fmla="*/ 7144 h 47625"/>
                <a:gd name="connsiteX5" fmla="*/ 248984 w 247650"/>
                <a:gd name="connsiteY5" fmla="*/ 24384 h 47625"/>
                <a:gd name="connsiteX6" fmla="*/ 231743 w 247650"/>
                <a:gd name="connsiteY6" fmla="*/ 41624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650" h="47625">
                  <a:moveTo>
                    <a:pt x="231743" y="41624"/>
                  </a:moveTo>
                  <a:lnTo>
                    <a:pt x="24384" y="41624"/>
                  </a:lnTo>
                  <a:cubicBezTo>
                    <a:pt x="14863" y="41624"/>
                    <a:pt x="7144" y="33906"/>
                    <a:pt x="7144" y="24384"/>
                  </a:cubicBezTo>
                  <a:cubicBezTo>
                    <a:pt x="7144" y="14863"/>
                    <a:pt x="14862" y="7144"/>
                    <a:pt x="24384" y="7144"/>
                  </a:cubicBezTo>
                  <a:lnTo>
                    <a:pt x="231743" y="7144"/>
                  </a:lnTo>
                  <a:cubicBezTo>
                    <a:pt x="241265" y="7144"/>
                    <a:pt x="248984" y="14862"/>
                    <a:pt x="248984" y="24384"/>
                  </a:cubicBezTo>
                  <a:cubicBezTo>
                    <a:pt x="248984" y="33905"/>
                    <a:pt x="241265" y="41624"/>
                    <a:pt x="231743" y="4162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40" name="Graphic 27">
            <a:extLst>
              <a:ext uri="{FF2B5EF4-FFF2-40B4-BE49-F238E27FC236}">
                <a16:creationId xmlns:a16="http://schemas.microsoft.com/office/drawing/2014/main" id="{783E9EAA-49AE-EB47-B711-79571CFDEAC7}"/>
              </a:ext>
            </a:extLst>
          </p:cNvPr>
          <p:cNvGrpSpPr>
            <a:grpSpLocks noChangeAspect="1"/>
          </p:cNvGrpSpPr>
          <p:nvPr/>
        </p:nvGrpSpPr>
        <p:grpSpPr>
          <a:xfrm>
            <a:off x="6168644" y="5251645"/>
            <a:ext cx="1371600" cy="1371600"/>
            <a:chOff x="846632" y="2209800"/>
            <a:chExt cx="1714500" cy="1714500"/>
          </a:xfrm>
        </p:grpSpPr>
        <p:sp>
          <p:nvSpPr>
            <p:cNvPr id="141" name="Freeform: Shape 526">
              <a:extLst>
                <a:ext uri="{FF2B5EF4-FFF2-40B4-BE49-F238E27FC236}">
                  <a16:creationId xmlns:a16="http://schemas.microsoft.com/office/drawing/2014/main" id="{26F46A6E-5C09-7242-B0F3-CE4E25045A46}"/>
                </a:ext>
              </a:extLst>
            </p:cNvPr>
            <p:cNvSpPr/>
            <p:nvPr/>
          </p:nvSpPr>
          <p:spPr>
            <a:xfrm>
              <a:off x="1024369" y="2424494"/>
              <a:ext cx="1285875" cy="1285875"/>
            </a:xfrm>
            <a:custGeom>
              <a:avLst/>
              <a:gdLst>
                <a:gd name="connsiteX0" fmla="*/ 646557 w 1285875"/>
                <a:gd name="connsiteY0" fmla="*/ 1285970 h 1285875"/>
                <a:gd name="connsiteX1" fmla="*/ 7144 w 1285875"/>
                <a:gd name="connsiteY1" fmla="*/ 646557 h 1285875"/>
                <a:gd name="connsiteX2" fmla="*/ 646557 w 1285875"/>
                <a:gd name="connsiteY2" fmla="*/ 7144 h 1285875"/>
                <a:gd name="connsiteX3" fmla="*/ 1285970 w 1285875"/>
                <a:gd name="connsiteY3" fmla="*/ 646557 h 1285875"/>
                <a:gd name="connsiteX4" fmla="*/ 646557 w 1285875"/>
                <a:gd name="connsiteY4" fmla="*/ 1285970 h 128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5875" h="1285875">
                  <a:moveTo>
                    <a:pt x="646557" y="1285970"/>
                  </a:moveTo>
                  <a:cubicBezTo>
                    <a:pt x="293419" y="1285970"/>
                    <a:pt x="7144" y="999695"/>
                    <a:pt x="7144" y="646557"/>
                  </a:cubicBezTo>
                  <a:cubicBezTo>
                    <a:pt x="7144" y="293419"/>
                    <a:pt x="293419" y="7144"/>
                    <a:pt x="646557" y="7144"/>
                  </a:cubicBezTo>
                  <a:cubicBezTo>
                    <a:pt x="999695" y="7144"/>
                    <a:pt x="1285970" y="293419"/>
                    <a:pt x="1285970" y="646557"/>
                  </a:cubicBezTo>
                  <a:cubicBezTo>
                    <a:pt x="1285603" y="999543"/>
                    <a:pt x="999543" y="1285603"/>
                    <a:pt x="646557" y="128597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2" name="Freeform: Shape 527">
              <a:extLst>
                <a:ext uri="{FF2B5EF4-FFF2-40B4-BE49-F238E27FC236}">
                  <a16:creationId xmlns:a16="http://schemas.microsoft.com/office/drawing/2014/main" id="{BAB9AD99-02E2-2149-BFFB-663293BB7916}"/>
                </a:ext>
              </a:extLst>
            </p:cNvPr>
            <p:cNvSpPr/>
            <p:nvPr/>
          </p:nvSpPr>
          <p:spPr>
            <a:xfrm>
              <a:off x="1343546" y="2778322"/>
              <a:ext cx="666750" cy="647700"/>
            </a:xfrm>
            <a:custGeom>
              <a:avLst/>
              <a:gdLst>
                <a:gd name="connsiteX0" fmla="*/ 655612 w 666750"/>
                <a:gd name="connsiteY0" fmla="*/ 7169 h 647700"/>
                <a:gd name="connsiteX1" fmla="*/ 19818 w 666750"/>
                <a:gd name="connsiteY1" fmla="*/ 7169 h 647700"/>
                <a:gd name="connsiteX2" fmla="*/ 10959 w 666750"/>
                <a:gd name="connsiteY2" fmla="*/ 10789 h 647700"/>
                <a:gd name="connsiteX3" fmla="*/ 10959 w 666750"/>
                <a:gd name="connsiteY3" fmla="*/ 10789 h 647700"/>
                <a:gd name="connsiteX4" fmla="*/ 7149 w 666750"/>
                <a:gd name="connsiteY4" fmla="*/ 20314 h 647700"/>
                <a:gd name="connsiteX5" fmla="*/ 7149 w 666750"/>
                <a:gd name="connsiteY5" fmla="*/ 422078 h 647700"/>
                <a:gd name="connsiteX6" fmla="*/ 10959 w 666750"/>
                <a:gd name="connsiteY6" fmla="*/ 431603 h 647700"/>
                <a:gd name="connsiteX7" fmla="*/ 10959 w 666750"/>
                <a:gd name="connsiteY7" fmla="*/ 431603 h 647700"/>
                <a:gd name="connsiteX8" fmla="*/ 19818 w 666750"/>
                <a:gd name="connsiteY8" fmla="*/ 435223 h 647700"/>
                <a:gd name="connsiteX9" fmla="*/ 325285 w 666750"/>
                <a:gd name="connsiteY9" fmla="*/ 435223 h 647700"/>
                <a:gd name="connsiteX10" fmla="*/ 325285 w 666750"/>
                <a:gd name="connsiteY10" fmla="*/ 459130 h 647700"/>
                <a:gd name="connsiteX11" fmla="*/ 89541 w 666750"/>
                <a:gd name="connsiteY11" fmla="*/ 623913 h 647700"/>
                <a:gd name="connsiteX12" fmla="*/ 84207 w 666750"/>
                <a:gd name="connsiteY12" fmla="*/ 634391 h 647700"/>
                <a:gd name="connsiteX13" fmla="*/ 86493 w 666750"/>
                <a:gd name="connsiteY13" fmla="*/ 641725 h 647700"/>
                <a:gd name="connsiteX14" fmla="*/ 86493 w 666750"/>
                <a:gd name="connsiteY14" fmla="*/ 641725 h 647700"/>
                <a:gd name="connsiteX15" fmla="*/ 96970 w 666750"/>
                <a:gd name="connsiteY15" fmla="*/ 647154 h 647700"/>
                <a:gd name="connsiteX16" fmla="*/ 103542 w 666750"/>
                <a:gd name="connsiteY16" fmla="*/ 645249 h 647700"/>
                <a:gd name="connsiteX17" fmla="*/ 325285 w 666750"/>
                <a:gd name="connsiteY17" fmla="*/ 489706 h 647700"/>
                <a:gd name="connsiteX18" fmla="*/ 325285 w 666750"/>
                <a:gd name="connsiteY18" fmla="*/ 584956 h 647700"/>
                <a:gd name="connsiteX19" fmla="*/ 337953 w 666750"/>
                <a:gd name="connsiteY19" fmla="*/ 597624 h 647700"/>
                <a:gd name="connsiteX20" fmla="*/ 350621 w 666750"/>
                <a:gd name="connsiteY20" fmla="*/ 584956 h 647700"/>
                <a:gd name="connsiteX21" fmla="*/ 350621 w 666750"/>
                <a:gd name="connsiteY21" fmla="*/ 489706 h 647700"/>
                <a:gd name="connsiteX22" fmla="*/ 571506 w 666750"/>
                <a:gd name="connsiteY22" fmla="*/ 644678 h 647700"/>
                <a:gd name="connsiteX23" fmla="*/ 571506 w 666750"/>
                <a:gd name="connsiteY23" fmla="*/ 644678 h 647700"/>
                <a:gd name="connsiteX24" fmla="*/ 578840 w 666750"/>
                <a:gd name="connsiteY24" fmla="*/ 647059 h 647700"/>
                <a:gd name="connsiteX25" fmla="*/ 588936 w 666750"/>
                <a:gd name="connsiteY25" fmla="*/ 641153 h 647700"/>
                <a:gd name="connsiteX26" fmla="*/ 591222 w 666750"/>
                <a:gd name="connsiteY26" fmla="*/ 634009 h 647700"/>
                <a:gd name="connsiteX27" fmla="*/ 585698 w 666750"/>
                <a:gd name="connsiteY27" fmla="*/ 623437 h 647700"/>
                <a:gd name="connsiteX28" fmla="*/ 350812 w 666750"/>
                <a:gd name="connsiteY28" fmla="*/ 458845 h 647700"/>
                <a:gd name="connsiteX29" fmla="*/ 350812 w 666750"/>
                <a:gd name="connsiteY29" fmla="*/ 434842 h 647700"/>
                <a:gd name="connsiteX30" fmla="*/ 655612 w 666750"/>
                <a:gd name="connsiteY30" fmla="*/ 434842 h 647700"/>
                <a:gd name="connsiteX31" fmla="*/ 665137 w 666750"/>
                <a:gd name="connsiteY31" fmla="*/ 431127 h 647700"/>
                <a:gd name="connsiteX32" fmla="*/ 668947 w 666750"/>
                <a:gd name="connsiteY32" fmla="*/ 421602 h 647700"/>
                <a:gd name="connsiteX33" fmla="*/ 668947 w 666750"/>
                <a:gd name="connsiteY33" fmla="*/ 19933 h 647700"/>
                <a:gd name="connsiteX34" fmla="*/ 665137 w 666750"/>
                <a:gd name="connsiteY34" fmla="*/ 10408 h 647700"/>
                <a:gd name="connsiteX35" fmla="*/ 655612 w 666750"/>
                <a:gd name="connsiteY35" fmla="*/ 7169 h 647700"/>
                <a:gd name="connsiteX36" fmla="*/ 642943 w 666750"/>
                <a:gd name="connsiteY36" fmla="*/ 405124 h 647700"/>
                <a:gd name="connsiteX37" fmla="*/ 642943 w 666750"/>
                <a:gd name="connsiteY37" fmla="*/ 409410 h 647700"/>
                <a:gd name="connsiteX38" fmla="*/ 32486 w 666750"/>
                <a:gd name="connsiteY38" fmla="*/ 409410 h 647700"/>
                <a:gd name="connsiteX39" fmla="*/ 32486 w 666750"/>
                <a:gd name="connsiteY39" fmla="*/ 117278 h 647700"/>
                <a:gd name="connsiteX40" fmla="*/ 643324 w 666750"/>
                <a:gd name="connsiteY40" fmla="*/ 117278 h 647700"/>
                <a:gd name="connsiteX41" fmla="*/ 642943 w 666750"/>
                <a:gd name="connsiteY41" fmla="*/ 87179 h 647700"/>
                <a:gd name="connsiteX42" fmla="*/ 642943 w 666750"/>
                <a:gd name="connsiteY42" fmla="*/ 91465 h 647700"/>
                <a:gd name="connsiteX43" fmla="*/ 32486 w 666750"/>
                <a:gd name="connsiteY43" fmla="*/ 91465 h 647700"/>
                <a:gd name="connsiteX44" fmla="*/ 32486 w 666750"/>
                <a:gd name="connsiteY44" fmla="*/ 32601 h 647700"/>
                <a:gd name="connsiteX45" fmla="*/ 643324 w 666750"/>
                <a:gd name="connsiteY45" fmla="*/ 32601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66750" h="647700">
                  <a:moveTo>
                    <a:pt x="655612" y="7169"/>
                  </a:moveTo>
                  <a:lnTo>
                    <a:pt x="19818" y="7169"/>
                  </a:lnTo>
                  <a:cubicBezTo>
                    <a:pt x="16499" y="7140"/>
                    <a:pt x="13308" y="8444"/>
                    <a:pt x="10959" y="10789"/>
                  </a:cubicBezTo>
                  <a:lnTo>
                    <a:pt x="10959" y="10789"/>
                  </a:lnTo>
                  <a:cubicBezTo>
                    <a:pt x="8423" y="13298"/>
                    <a:pt x="7043" y="16748"/>
                    <a:pt x="7149" y="20314"/>
                  </a:cubicBezTo>
                  <a:lnTo>
                    <a:pt x="7149" y="422078"/>
                  </a:lnTo>
                  <a:cubicBezTo>
                    <a:pt x="7043" y="425644"/>
                    <a:pt x="8423" y="429094"/>
                    <a:pt x="10959" y="431603"/>
                  </a:cubicBezTo>
                  <a:lnTo>
                    <a:pt x="10959" y="431603"/>
                  </a:lnTo>
                  <a:cubicBezTo>
                    <a:pt x="13308" y="433948"/>
                    <a:pt x="16499" y="435252"/>
                    <a:pt x="19818" y="435223"/>
                  </a:cubicBezTo>
                  <a:lnTo>
                    <a:pt x="325285" y="435223"/>
                  </a:lnTo>
                  <a:lnTo>
                    <a:pt x="325285" y="459130"/>
                  </a:lnTo>
                  <a:lnTo>
                    <a:pt x="89541" y="623913"/>
                  </a:lnTo>
                  <a:cubicBezTo>
                    <a:pt x="86112" y="626285"/>
                    <a:pt x="84108" y="630223"/>
                    <a:pt x="84207" y="634391"/>
                  </a:cubicBezTo>
                  <a:cubicBezTo>
                    <a:pt x="84249" y="637004"/>
                    <a:pt x="85043" y="639550"/>
                    <a:pt x="86493" y="641725"/>
                  </a:cubicBezTo>
                  <a:lnTo>
                    <a:pt x="86493" y="641725"/>
                  </a:lnTo>
                  <a:cubicBezTo>
                    <a:pt x="88910" y="645113"/>
                    <a:pt x="92808" y="647132"/>
                    <a:pt x="96970" y="647154"/>
                  </a:cubicBezTo>
                  <a:cubicBezTo>
                    <a:pt x="99289" y="647097"/>
                    <a:pt x="101553" y="646441"/>
                    <a:pt x="103542" y="645249"/>
                  </a:cubicBezTo>
                  <a:lnTo>
                    <a:pt x="325285" y="489706"/>
                  </a:lnTo>
                  <a:lnTo>
                    <a:pt x="325285" y="584956"/>
                  </a:lnTo>
                  <a:cubicBezTo>
                    <a:pt x="325285" y="591952"/>
                    <a:pt x="330956" y="597624"/>
                    <a:pt x="337953" y="597624"/>
                  </a:cubicBezTo>
                  <a:cubicBezTo>
                    <a:pt x="344949" y="597624"/>
                    <a:pt x="350621" y="591952"/>
                    <a:pt x="350621" y="584956"/>
                  </a:cubicBezTo>
                  <a:lnTo>
                    <a:pt x="350621" y="489706"/>
                  </a:lnTo>
                  <a:lnTo>
                    <a:pt x="571506" y="644678"/>
                  </a:lnTo>
                  <a:lnTo>
                    <a:pt x="571506" y="644678"/>
                  </a:lnTo>
                  <a:cubicBezTo>
                    <a:pt x="573619" y="646263"/>
                    <a:pt x="576199" y="647101"/>
                    <a:pt x="578840" y="647059"/>
                  </a:cubicBezTo>
                  <a:cubicBezTo>
                    <a:pt x="582958" y="646823"/>
                    <a:pt x="586713" y="644627"/>
                    <a:pt x="588936" y="641153"/>
                  </a:cubicBezTo>
                  <a:cubicBezTo>
                    <a:pt x="590442" y="639077"/>
                    <a:pt x="591243" y="636574"/>
                    <a:pt x="591222" y="634009"/>
                  </a:cubicBezTo>
                  <a:cubicBezTo>
                    <a:pt x="591210" y="629797"/>
                    <a:pt x="589149" y="625853"/>
                    <a:pt x="585698" y="623437"/>
                  </a:cubicBezTo>
                  <a:lnTo>
                    <a:pt x="350812" y="458845"/>
                  </a:lnTo>
                  <a:lnTo>
                    <a:pt x="350812" y="434842"/>
                  </a:lnTo>
                  <a:lnTo>
                    <a:pt x="655612" y="434842"/>
                  </a:lnTo>
                  <a:cubicBezTo>
                    <a:pt x="659156" y="434929"/>
                    <a:pt x="662587" y="433591"/>
                    <a:pt x="665137" y="431127"/>
                  </a:cubicBezTo>
                  <a:cubicBezTo>
                    <a:pt x="667599" y="428570"/>
                    <a:pt x="668966" y="425152"/>
                    <a:pt x="668947" y="421602"/>
                  </a:cubicBezTo>
                  <a:lnTo>
                    <a:pt x="668947" y="19933"/>
                  </a:lnTo>
                  <a:cubicBezTo>
                    <a:pt x="668987" y="16379"/>
                    <a:pt x="667617" y="12953"/>
                    <a:pt x="665137" y="10408"/>
                  </a:cubicBezTo>
                  <a:cubicBezTo>
                    <a:pt x="662511" y="8117"/>
                    <a:pt x="659089" y="6953"/>
                    <a:pt x="655612" y="7169"/>
                  </a:cubicBezTo>
                  <a:close/>
                  <a:moveTo>
                    <a:pt x="642943" y="405124"/>
                  </a:moveTo>
                  <a:lnTo>
                    <a:pt x="642943" y="409410"/>
                  </a:lnTo>
                  <a:lnTo>
                    <a:pt x="32486" y="409410"/>
                  </a:lnTo>
                  <a:lnTo>
                    <a:pt x="32486" y="117278"/>
                  </a:lnTo>
                  <a:lnTo>
                    <a:pt x="643324" y="117278"/>
                  </a:lnTo>
                  <a:close/>
                  <a:moveTo>
                    <a:pt x="642943" y="87179"/>
                  </a:moveTo>
                  <a:lnTo>
                    <a:pt x="642943" y="91465"/>
                  </a:lnTo>
                  <a:lnTo>
                    <a:pt x="32486" y="91465"/>
                  </a:lnTo>
                  <a:lnTo>
                    <a:pt x="32486" y="32601"/>
                  </a:lnTo>
                  <a:lnTo>
                    <a:pt x="643324" y="32601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3" name="Freeform: Shape 528">
              <a:extLst>
                <a:ext uri="{FF2B5EF4-FFF2-40B4-BE49-F238E27FC236}">
                  <a16:creationId xmlns:a16="http://schemas.microsoft.com/office/drawing/2014/main" id="{60061215-1AFD-F04A-BD3F-0D4A8E0597C7}"/>
                </a:ext>
              </a:extLst>
            </p:cNvPr>
            <p:cNvSpPr/>
            <p:nvPr/>
          </p:nvSpPr>
          <p:spPr>
            <a:xfrm>
              <a:off x="1429276" y="2937510"/>
              <a:ext cx="476250" cy="190500"/>
            </a:xfrm>
            <a:custGeom>
              <a:avLst/>
              <a:gdLst>
                <a:gd name="connsiteX0" fmla="*/ 474631 w 476250"/>
                <a:gd name="connsiteY0" fmla="*/ 32575 h 190500"/>
                <a:gd name="connsiteX1" fmla="*/ 474631 w 476250"/>
                <a:gd name="connsiteY1" fmla="*/ 32575 h 190500"/>
                <a:gd name="connsiteX2" fmla="*/ 474631 w 476250"/>
                <a:gd name="connsiteY2" fmla="*/ 30861 h 190500"/>
                <a:gd name="connsiteX3" fmla="*/ 463487 w 476250"/>
                <a:gd name="connsiteY3" fmla="*/ 18288 h 190500"/>
                <a:gd name="connsiteX4" fmla="*/ 377000 w 476250"/>
                <a:gd name="connsiteY4" fmla="*/ 7144 h 190500"/>
                <a:gd name="connsiteX5" fmla="*/ 375286 w 476250"/>
                <a:gd name="connsiteY5" fmla="*/ 7144 h 190500"/>
                <a:gd name="connsiteX6" fmla="*/ 362617 w 476250"/>
                <a:gd name="connsiteY6" fmla="*/ 18288 h 190500"/>
                <a:gd name="connsiteX7" fmla="*/ 362617 w 476250"/>
                <a:gd name="connsiteY7" fmla="*/ 19812 h 190500"/>
                <a:gd name="connsiteX8" fmla="*/ 373190 w 476250"/>
                <a:gd name="connsiteY8" fmla="*/ 32480 h 190500"/>
                <a:gd name="connsiteX9" fmla="*/ 430340 w 476250"/>
                <a:gd name="connsiteY9" fmla="*/ 39815 h 190500"/>
                <a:gd name="connsiteX10" fmla="*/ 272797 w 476250"/>
                <a:gd name="connsiteY10" fmla="*/ 142018 h 190500"/>
                <a:gd name="connsiteX11" fmla="*/ 210027 w 476250"/>
                <a:gd name="connsiteY11" fmla="*/ 48673 h 190500"/>
                <a:gd name="connsiteX12" fmla="*/ 201740 w 476250"/>
                <a:gd name="connsiteY12" fmla="*/ 43339 h 190500"/>
                <a:gd name="connsiteX13" fmla="*/ 199454 w 476250"/>
                <a:gd name="connsiteY13" fmla="*/ 43339 h 190500"/>
                <a:gd name="connsiteX14" fmla="*/ 192120 w 476250"/>
                <a:gd name="connsiteY14" fmla="*/ 45625 h 190500"/>
                <a:gd name="connsiteX15" fmla="*/ 12669 w 476250"/>
                <a:gd name="connsiteY15" fmla="*/ 167640 h 190500"/>
                <a:gd name="connsiteX16" fmla="*/ 12669 w 476250"/>
                <a:gd name="connsiteY16" fmla="*/ 167640 h 190500"/>
                <a:gd name="connsiteX17" fmla="*/ 7144 w 476250"/>
                <a:gd name="connsiteY17" fmla="*/ 178213 h 190500"/>
                <a:gd name="connsiteX18" fmla="*/ 9240 w 476250"/>
                <a:gd name="connsiteY18" fmla="*/ 185261 h 190500"/>
                <a:gd name="connsiteX19" fmla="*/ 19813 w 476250"/>
                <a:gd name="connsiteY19" fmla="*/ 190881 h 190500"/>
                <a:gd name="connsiteX20" fmla="*/ 27052 w 476250"/>
                <a:gd name="connsiteY20" fmla="*/ 188690 h 190500"/>
                <a:gd name="connsiteX21" fmla="*/ 27052 w 476250"/>
                <a:gd name="connsiteY21" fmla="*/ 188690 h 190500"/>
                <a:gd name="connsiteX22" fmla="*/ 196216 w 476250"/>
                <a:gd name="connsiteY22" fmla="*/ 73342 h 190500"/>
                <a:gd name="connsiteX23" fmla="*/ 258795 w 476250"/>
                <a:gd name="connsiteY23" fmla="*/ 166306 h 190500"/>
                <a:gd name="connsiteX24" fmla="*/ 269272 w 476250"/>
                <a:gd name="connsiteY24" fmla="*/ 171926 h 190500"/>
                <a:gd name="connsiteX25" fmla="*/ 276321 w 476250"/>
                <a:gd name="connsiteY25" fmla="*/ 169831 h 190500"/>
                <a:gd name="connsiteX26" fmla="*/ 446056 w 476250"/>
                <a:gd name="connsiteY26" fmla="*/ 60293 h 190500"/>
                <a:gd name="connsiteX27" fmla="*/ 438722 w 476250"/>
                <a:gd name="connsiteY27" fmla="*/ 115919 h 190500"/>
                <a:gd name="connsiteX28" fmla="*/ 438722 w 476250"/>
                <a:gd name="connsiteY28" fmla="*/ 115919 h 190500"/>
                <a:gd name="connsiteX29" fmla="*/ 438722 w 476250"/>
                <a:gd name="connsiteY29" fmla="*/ 117538 h 190500"/>
                <a:gd name="connsiteX30" fmla="*/ 449771 w 476250"/>
                <a:gd name="connsiteY30" fmla="*/ 130207 h 190500"/>
                <a:gd name="connsiteX31" fmla="*/ 451581 w 476250"/>
                <a:gd name="connsiteY31" fmla="*/ 130207 h 190500"/>
                <a:gd name="connsiteX32" fmla="*/ 464249 w 476250"/>
                <a:gd name="connsiteY32" fmla="*/ 119158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76250" h="190500">
                  <a:moveTo>
                    <a:pt x="474631" y="32575"/>
                  </a:moveTo>
                  <a:lnTo>
                    <a:pt x="474631" y="32575"/>
                  </a:lnTo>
                  <a:lnTo>
                    <a:pt x="474631" y="30861"/>
                  </a:lnTo>
                  <a:cubicBezTo>
                    <a:pt x="474547" y="24487"/>
                    <a:pt x="469805" y="19137"/>
                    <a:pt x="463487" y="18288"/>
                  </a:cubicBezTo>
                  <a:lnTo>
                    <a:pt x="377000" y="7144"/>
                  </a:lnTo>
                  <a:lnTo>
                    <a:pt x="375286" y="7144"/>
                  </a:lnTo>
                  <a:cubicBezTo>
                    <a:pt x="368875" y="7181"/>
                    <a:pt x="363472" y="11935"/>
                    <a:pt x="362617" y="18288"/>
                  </a:cubicBezTo>
                  <a:lnTo>
                    <a:pt x="362617" y="19812"/>
                  </a:lnTo>
                  <a:cubicBezTo>
                    <a:pt x="362649" y="26023"/>
                    <a:pt x="367084" y="31338"/>
                    <a:pt x="373190" y="32480"/>
                  </a:cubicBezTo>
                  <a:lnTo>
                    <a:pt x="430340" y="39815"/>
                  </a:lnTo>
                  <a:lnTo>
                    <a:pt x="272797" y="142018"/>
                  </a:lnTo>
                  <a:lnTo>
                    <a:pt x="210027" y="48673"/>
                  </a:lnTo>
                  <a:cubicBezTo>
                    <a:pt x="208034" y="45916"/>
                    <a:pt x="205075" y="44011"/>
                    <a:pt x="201740" y="43339"/>
                  </a:cubicBezTo>
                  <a:lnTo>
                    <a:pt x="199454" y="43339"/>
                  </a:lnTo>
                  <a:cubicBezTo>
                    <a:pt x="196841" y="43381"/>
                    <a:pt x="194295" y="44175"/>
                    <a:pt x="192120" y="45625"/>
                  </a:cubicBezTo>
                  <a:lnTo>
                    <a:pt x="12669" y="167640"/>
                  </a:lnTo>
                  <a:lnTo>
                    <a:pt x="12669" y="167640"/>
                  </a:lnTo>
                  <a:cubicBezTo>
                    <a:pt x="9218" y="170056"/>
                    <a:pt x="7157" y="174000"/>
                    <a:pt x="7144" y="178213"/>
                  </a:cubicBezTo>
                  <a:cubicBezTo>
                    <a:pt x="7119" y="180719"/>
                    <a:pt x="7849" y="183176"/>
                    <a:pt x="9240" y="185261"/>
                  </a:cubicBezTo>
                  <a:cubicBezTo>
                    <a:pt x="11612" y="188774"/>
                    <a:pt x="15574" y="190880"/>
                    <a:pt x="19813" y="190881"/>
                  </a:cubicBezTo>
                  <a:cubicBezTo>
                    <a:pt x="22402" y="190978"/>
                    <a:pt x="24950" y="190207"/>
                    <a:pt x="27052" y="188690"/>
                  </a:cubicBezTo>
                  <a:lnTo>
                    <a:pt x="27052" y="188690"/>
                  </a:lnTo>
                  <a:lnTo>
                    <a:pt x="196216" y="73342"/>
                  </a:lnTo>
                  <a:lnTo>
                    <a:pt x="258795" y="166306"/>
                  </a:lnTo>
                  <a:cubicBezTo>
                    <a:pt x="261113" y="169830"/>
                    <a:pt x="265055" y="171944"/>
                    <a:pt x="269272" y="171926"/>
                  </a:cubicBezTo>
                  <a:cubicBezTo>
                    <a:pt x="271773" y="171907"/>
                    <a:pt x="274216" y="171181"/>
                    <a:pt x="276321" y="169831"/>
                  </a:cubicBezTo>
                  <a:lnTo>
                    <a:pt x="446056" y="60293"/>
                  </a:lnTo>
                  <a:lnTo>
                    <a:pt x="438722" y="115919"/>
                  </a:lnTo>
                  <a:lnTo>
                    <a:pt x="438722" y="115919"/>
                  </a:lnTo>
                  <a:lnTo>
                    <a:pt x="438722" y="117538"/>
                  </a:lnTo>
                  <a:cubicBezTo>
                    <a:pt x="438753" y="123917"/>
                    <a:pt x="443456" y="129309"/>
                    <a:pt x="449771" y="130207"/>
                  </a:cubicBezTo>
                  <a:lnTo>
                    <a:pt x="451581" y="130207"/>
                  </a:lnTo>
                  <a:cubicBezTo>
                    <a:pt x="457960" y="130176"/>
                    <a:pt x="463352" y="125473"/>
                    <a:pt x="464249" y="11915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44" name="Graphic 27">
            <a:extLst>
              <a:ext uri="{FF2B5EF4-FFF2-40B4-BE49-F238E27FC236}">
                <a16:creationId xmlns:a16="http://schemas.microsoft.com/office/drawing/2014/main" id="{E9EF24F3-16A6-7C44-AFC2-455BD1D68AC1}"/>
              </a:ext>
            </a:extLst>
          </p:cNvPr>
          <p:cNvGrpSpPr>
            <a:grpSpLocks noChangeAspect="1"/>
          </p:cNvGrpSpPr>
          <p:nvPr/>
        </p:nvGrpSpPr>
        <p:grpSpPr>
          <a:xfrm>
            <a:off x="7770134" y="3103897"/>
            <a:ext cx="1371600" cy="1371600"/>
            <a:chOff x="846632" y="2209800"/>
            <a:chExt cx="1714500" cy="1714500"/>
          </a:xfrm>
        </p:grpSpPr>
        <p:sp>
          <p:nvSpPr>
            <p:cNvPr id="145" name="Freeform: Shape 536">
              <a:extLst>
                <a:ext uri="{FF2B5EF4-FFF2-40B4-BE49-F238E27FC236}">
                  <a16:creationId xmlns:a16="http://schemas.microsoft.com/office/drawing/2014/main" id="{276E10FA-6CEC-DE46-A86A-6C0B30676578}"/>
                </a:ext>
              </a:extLst>
            </p:cNvPr>
            <p:cNvSpPr/>
            <p:nvPr/>
          </p:nvSpPr>
          <p:spPr>
            <a:xfrm>
              <a:off x="1051801" y="2455735"/>
              <a:ext cx="1266825" cy="1266825"/>
            </a:xfrm>
            <a:custGeom>
              <a:avLst/>
              <a:gdLst>
                <a:gd name="connsiteX0" fmla="*/ 636842 w 1266825"/>
                <a:gd name="connsiteY0" fmla="*/ 1266539 h 1266825"/>
                <a:gd name="connsiteX1" fmla="*/ 7144 w 1266825"/>
                <a:gd name="connsiteY1" fmla="*/ 636842 h 1266825"/>
                <a:gd name="connsiteX2" fmla="*/ 636842 w 1266825"/>
                <a:gd name="connsiteY2" fmla="*/ 7144 h 1266825"/>
                <a:gd name="connsiteX3" fmla="*/ 1266539 w 1266825"/>
                <a:gd name="connsiteY3" fmla="*/ 636842 h 1266825"/>
                <a:gd name="connsiteX4" fmla="*/ 636841 w 1266825"/>
                <a:gd name="connsiteY4" fmla="*/ 1266539 h 1266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6825" h="1266825">
                  <a:moveTo>
                    <a:pt x="636842" y="1266539"/>
                  </a:moveTo>
                  <a:cubicBezTo>
                    <a:pt x="289069" y="1266539"/>
                    <a:pt x="7144" y="984614"/>
                    <a:pt x="7144" y="636842"/>
                  </a:cubicBezTo>
                  <a:cubicBezTo>
                    <a:pt x="7144" y="289069"/>
                    <a:pt x="289069" y="7144"/>
                    <a:pt x="636842" y="7144"/>
                  </a:cubicBezTo>
                  <a:cubicBezTo>
                    <a:pt x="984614" y="7144"/>
                    <a:pt x="1266539" y="289069"/>
                    <a:pt x="1266539" y="636842"/>
                  </a:cubicBezTo>
                  <a:cubicBezTo>
                    <a:pt x="1266119" y="984440"/>
                    <a:pt x="984440" y="1266119"/>
                    <a:pt x="636841" y="126653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6" name="Freeform: Shape 537">
              <a:extLst>
                <a:ext uri="{FF2B5EF4-FFF2-40B4-BE49-F238E27FC236}">
                  <a16:creationId xmlns:a16="http://schemas.microsoft.com/office/drawing/2014/main" id="{394F3D76-FD47-2745-96DF-1D5A90D813E4}"/>
                </a:ext>
              </a:extLst>
            </p:cNvPr>
            <p:cNvSpPr/>
            <p:nvPr/>
          </p:nvSpPr>
          <p:spPr>
            <a:xfrm>
              <a:off x="1679784" y="2674942"/>
              <a:ext cx="447675" cy="447675"/>
            </a:xfrm>
            <a:custGeom>
              <a:avLst/>
              <a:gdLst>
                <a:gd name="connsiteX0" fmla="*/ 273367 w 447675"/>
                <a:gd name="connsiteY0" fmla="*/ 441733 h 447675"/>
                <a:gd name="connsiteX1" fmla="*/ 265367 w 447675"/>
                <a:gd name="connsiteY1" fmla="*/ 439638 h 447675"/>
                <a:gd name="connsiteX2" fmla="*/ 199358 w 447675"/>
                <a:gd name="connsiteY2" fmla="*/ 397633 h 447675"/>
                <a:gd name="connsiteX3" fmla="*/ 198406 w 447675"/>
                <a:gd name="connsiteY3" fmla="*/ 396966 h 447675"/>
                <a:gd name="connsiteX4" fmla="*/ 195453 w 447675"/>
                <a:gd name="connsiteY4" fmla="*/ 374296 h 447675"/>
                <a:gd name="connsiteX5" fmla="*/ 198501 w 447675"/>
                <a:gd name="connsiteY5" fmla="*/ 371248 h 447675"/>
                <a:gd name="connsiteX6" fmla="*/ 216694 w 447675"/>
                <a:gd name="connsiteY6" fmla="*/ 314956 h 447675"/>
                <a:gd name="connsiteX7" fmla="*/ 155829 w 447675"/>
                <a:gd name="connsiteY7" fmla="*/ 272569 h 447675"/>
                <a:gd name="connsiteX8" fmla="*/ 107632 w 447675"/>
                <a:gd name="connsiteY8" fmla="*/ 314575 h 447675"/>
                <a:gd name="connsiteX9" fmla="*/ 86487 w 447675"/>
                <a:gd name="connsiteY9" fmla="*/ 324100 h 447675"/>
                <a:gd name="connsiteX10" fmla="*/ 84011 w 447675"/>
                <a:gd name="connsiteY10" fmla="*/ 322861 h 447675"/>
                <a:gd name="connsiteX11" fmla="*/ 17907 w 447675"/>
                <a:gd name="connsiteY11" fmla="*/ 280761 h 447675"/>
                <a:gd name="connsiteX12" fmla="*/ 12668 w 447675"/>
                <a:gd name="connsiteY12" fmla="*/ 259044 h 447675"/>
                <a:gd name="connsiteX13" fmla="*/ 54102 w 447675"/>
                <a:gd name="connsiteY13" fmla="*/ 194274 h 447675"/>
                <a:gd name="connsiteX14" fmla="*/ 7144 w 447675"/>
                <a:gd name="connsiteY14" fmla="*/ 133790 h 447675"/>
                <a:gd name="connsiteX15" fmla="*/ 61436 w 447675"/>
                <a:gd name="connsiteY15" fmla="*/ 58733 h 447675"/>
                <a:gd name="connsiteX16" fmla="*/ 126873 w 447675"/>
                <a:gd name="connsiteY16" fmla="*/ 80260 h 447675"/>
                <a:gd name="connsiteX17" fmla="*/ 168783 w 447675"/>
                <a:gd name="connsiteY17" fmla="*/ 14537 h 447675"/>
                <a:gd name="connsiteX18" fmla="*/ 191071 w 447675"/>
                <a:gd name="connsiteY18" fmla="*/ 9679 h 447675"/>
                <a:gd name="connsiteX19" fmla="*/ 438721 w 447675"/>
                <a:gd name="connsiteY19" fmla="*/ 167318 h 447675"/>
                <a:gd name="connsiteX20" fmla="*/ 440246 w 447675"/>
                <a:gd name="connsiteY20" fmla="*/ 168366 h 447675"/>
                <a:gd name="connsiteX21" fmla="*/ 442722 w 447675"/>
                <a:gd name="connsiteY21" fmla="*/ 189988 h 447675"/>
                <a:gd name="connsiteX22" fmla="*/ 287179 w 447675"/>
                <a:gd name="connsiteY22" fmla="*/ 434399 h 447675"/>
                <a:gd name="connsiteX23" fmla="*/ 273368 w 447675"/>
                <a:gd name="connsiteY23" fmla="*/ 441733 h 447675"/>
                <a:gd name="connsiteX24" fmla="*/ 223456 w 447675"/>
                <a:gd name="connsiteY24" fmla="*/ 382583 h 447675"/>
                <a:gd name="connsiteX25" fmla="*/ 271082 w 447675"/>
                <a:gd name="connsiteY25" fmla="*/ 412682 h 447675"/>
                <a:gd name="connsiteX26" fmla="*/ 416624 w 447675"/>
                <a:gd name="connsiteY26" fmla="*/ 183511 h 447675"/>
                <a:gd name="connsiteX27" fmla="*/ 185261 w 447675"/>
                <a:gd name="connsiteY27" fmla="*/ 36254 h 447675"/>
                <a:gd name="connsiteX28" fmla="*/ 141161 w 447675"/>
                <a:gd name="connsiteY28" fmla="*/ 105406 h 447675"/>
                <a:gd name="connsiteX29" fmla="*/ 119019 w 447675"/>
                <a:gd name="connsiteY29" fmla="*/ 110696 h 447675"/>
                <a:gd name="connsiteX30" fmla="*/ 113728 w 447675"/>
                <a:gd name="connsiteY30" fmla="*/ 105406 h 447675"/>
                <a:gd name="connsiteX31" fmla="*/ 68866 w 447675"/>
                <a:gd name="connsiteY31" fmla="*/ 83403 h 447675"/>
                <a:gd name="connsiteX32" fmla="*/ 32671 w 447675"/>
                <a:gd name="connsiteY32" fmla="*/ 133695 h 447675"/>
                <a:gd name="connsiteX33" fmla="*/ 72676 w 447675"/>
                <a:gd name="connsiteY33" fmla="*/ 174176 h 447675"/>
                <a:gd name="connsiteX34" fmla="*/ 77057 w 447675"/>
                <a:gd name="connsiteY34" fmla="*/ 176081 h 447675"/>
                <a:gd name="connsiteX35" fmla="*/ 84201 w 447675"/>
                <a:gd name="connsiteY35" fmla="*/ 186178 h 447675"/>
                <a:gd name="connsiteX36" fmla="*/ 82105 w 447675"/>
                <a:gd name="connsiteY36" fmla="*/ 198465 h 447675"/>
                <a:gd name="connsiteX37" fmla="*/ 39624 w 447675"/>
                <a:gd name="connsiteY37" fmla="*/ 265140 h 447675"/>
                <a:gd name="connsiteX38" fmla="*/ 87821 w 447675"/>
                <a:gd name="connsiteY38" fmla="*/ 295906 h 447675"/>
                <a:gd name="connsiteX39" fmla="*/ 155543 w 447675"/>
                <a:gd name="connsiteY39" fmla="*/ 247614 h 447675"/>
                <a:gd name="connsiteX40" fmla="*/ 240602 w 447675"/>
                <a:gd name="connsiteY40" fmla="*/ 306383 h 447675"/>
                <a:gd name="connsiteX41" fmla="*/ 223456 w 447675"/>
                <a:gd name="connsiteY41" fmla="*/ 382583 h 447675"/>
                <a:gd name="connsiteX42" fmla="*/ 31337 w 447675"/>
                <a:gd name="connsiteY42" fmla="*/ 258758 h 447675"/>
                <a:gd name="connsiteX43" fmla="*/ 31337 w 447675"/>
                <a:gd name="connsiteY43" fmla="*/ 258758 h 447675"/>
                <a:gd name="connsiteX44" fmla="*/ 65913 w 447675"/>
                <a:gd name="connsiteY44" fmla="*/ 197893 h 447675"/>
                <a:gd name="connsiteX45" fmla="*/ 65913 w 447675"/>
                <a:gd name="connsiteY45" fmla="*/ 197893 h 447675"/>
                <a:gd name="connsiteX46" fmla="*/ 119348 w 447675"/>
                <a:gd name="connsiteY46" fmla="*/ 91499 h 447675"/>
                <a:gd name="connsiteX47" fmla="*/ 119348 w 447675"/>
                <a:gd name="connsiteY47" fmla="*/ 91975 h 447675"/>
                <a:gd name="connsiteX48" fmla="*/ 134684 w 447675"/>
                <a:gd name="connsiteY48" fmla="*/ 91499 h 447675"/>
                <a:gd name="connsiteX49" fmla="*/ 134684 w 447675"/>
                <a:gd name="connsiteY49" fmla="*/ 91975 h 447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447675" h="447675">
                  <a:moveTo>
                    <a:pt x="273367" y="441733"/>
                  </a:moveTo>
                  <a:cubicBezTo>
                    <a:pt x="270562" y="441753"/>
                    <a:pt x="267802" y="441030"/>
                    <a:pt x="265367" y="439638"/>
                  </a:cubicBezTo>
                  <a:lnTo>
                    <a:pt x="199358" y="397633"/>
                  </a:lnTo>
                  <a:lnTo>
                    <a:pt x="198406" y="396966"/>
                  </a:lnTo>
                  <a:cubicBezTo>
                    <a:pt x="191345" y="391513"/>
                    <a:pt x="190024" y="381376"/>
                    <a:pt x="195453" y="374296"/>
                  </a:cubicBezTo>
                  <a:cubicBezTo>
                    <a:pt x="196347" y="373165"/>
                    <a:pt x="197370" y="372142"/>
                    <a:pt x="198501" y="371248"/>
                  </a:cubicBezTo>
                  <a:cubicBezTo>
                    <a:pt x="223075" y="350389"/>
                    <a:pt x="222028" y="329053"/>
                    <a:pt x="216694" y="314956"/>
                  </a:cubicBezTo>
                  <a:cubicBezTo>
                    <a:pt x="206358" y="290206"/>
                    <a:pt x="182627" y="273679"/>
                    <a:pt x="155829" y="272569"/>
                  </a:cubicBezTo>
                  <a:cubicBezTo>
                    <a:pt x="133731" y="272569"/>
                    <a:pt x="117062" y="287333"/>
                    <a:pt x="107632" y="314575"/>
                  </a:cubicBezTo>
                  <a:cubicBezTo>
                    <a:pt x="104389" y="323012"/>
                    <a:pt x="94955" y="327262"/>
                    <a:pt x="86487" y="324100"/>
                  </a:cubicBezTo>
                  <a:lnTo>
                    <a:pt x="84011" y="322861"/>
                  </a:lnTo>
                  <a:lnTo>
                    <a:pt x="17907" y="280761"/>
                  </a:lnTo>
                  <a:cubicBezTo>
                    <a:pt x="10560" y="276140"/>
                    <a:pt x="8236" y="266506"/>
                    <a:pt x="12668" y="259044"/>
                  </a:cubicBezTo>
                  <a:lnTo>
                    <a:pt x="54102" y="194274"/>
                  </a:lnTo>
                  <a:cubicBezTo>
                    <a:pt x="24098" y="182558"/>
                    <a:pt x="7525" y="161317"/>
                    <a:pt x="7144" y="133790"/>
                  </a:cubicBezTo>
                  <a:cubicBezTo>
                    <a:pt x="7559" y="99811"/>
                    <a:pt x="29294" y="69763"/>
                    <a:pt x="61436" y="58733"/>
                  </a:cubicBezTo>
                  <a:cubicBezTo>
                    <a:pt x="85604" y="51515"/>
                    <a:pt x="111710" y="60103"/>
                    <a:pt x="126873" y="80260"/>
                  </a:cubicBezTo>
                  <a:cubicBezTo>
                    <a:pt x="148209" y="46922"/>
                    <a:pt x="161925" y="25396"/>
                    <a:pt x="168783" y="14537"/>
                  </a:cubicBezTo>
                  <a:cubicBezTo>
                    <a:pt x="173617" y="7071"/>
                    <a:pt x="183569" y="4902"/>
                    <a:pt x="191071" y="9679"/>
                  </a:cubicBezTo>
                  <a:lnTo>
                    <a:pt x="438721" y="167318"/>
                  </a:lnTo>
                  <a:lnTo>
                    <a:pt x="440246" y="168366"/>
                  </a:lnTo>
                  <a:cubicBezTo>
                    <a:pt x="446513" y="173861"/>
                    <a:pt x="447585" y="183217"/>
                    <a:pt x="442722" y="189988"/>
                  </a:cubicBezTo>
                  <a:lnTo>
                    <a:pt x="287179" y="434399"/>
                  </a:lnTo>
                  <a:cubicBezTo>
                    <a:pt x="284045" y="438948"/>
                    <a:pt x="278891" y="441684"/>
                    <a:pt x="273368" y="441733"/>
                  </a:cubicBezTo>
                  <a:close/>
                  <a:moveTo>
                    <a:pt x="223456" y="382583"/>
                  </a:moveTo>
                  <a:lnTo>
                    <a:pt x="271082" y="412682"/>
                  </a:lnTo>
                  <a:lnTo>
                    <a:pt x="416624" y="183511"/>
                  </a:lnTo>
                  <a:lnTo>
                    <a:pt x="185261" y="36254"/>
                  </a:lnTo>
                  <a:lnTo>
                    <a:pt x="141161" y="105406"/>
                  </a:lnTo>
                  <a:cubicBezTo>
                    <a:pt x="136507" y="112981"/>
                    <a:pt x="126594" y="115349"/>
                    <a:pt x="119019" y="110696"/>
                  </a:cubicBezTo>
                  <a:cubicBezTo>
                    <a:pt x="116864" y="109372"/>
                    <a:pt x="115052" y="107560"/>
                    <a:pt x="113728" y="105406"/>
                  </a:cubicBezTo>
                  <a:cubicBezTo>
                    <a:pt x="101155" y="86356"/>
                    <a:pt x="85154" y="78355"/>
                    <a:pt x="68866" y="83403"/>
                  </a:cubicBezTo>
                  <a:cubicBezTo>
                    <a:pt x="47700" y="91252"/>
                    <a:pt x="33392" y="111132"/>
                    <a:pt x="32671" y="133695"/>
                  </a:cubicBezTo>
                  <a:cubicBezTo>
                    <a:pt x="32671" y="152745"/>
                    <a:pt x="46768" y="167032"/>
                    <a:pt x="72676" y="174176"/>
                  </a:cubicBezTo>
                  <a:cubicBezTo>
                    <a:pt x="74229" y="174572"/>
                    <a:pt x="75708" y="175215"/>
                    <a:pt x="77057" y="176081"/>
                  </a:cubicBezTo>
                  <a:cubicBezTo>
                    <a:pt x="80711" y="178337"/>
                    <a:pt x="83289" y="181982"/>
                    <a:pt x="84201" y="186178"/>
                  </a:cubicBezTo>
                  <a:cubicBezTo>
                    <a:pt x="85149" y="190389"/>
                    <a:pt x="84396" y="194805"/>
                    <a:pt x="82105" y="198465"/>
                  </a:cubicBezTo>
                  <a:lnTo>
                    <a:pt x="39624" y="265140"/>
                  </a:lnTo>
                  <a:lnTo>
                    <a:pt x="87821" y="295906"/>
                  </a:lnTo>
                  <a:cubicBezTo>
                    <a:pt x="101632" y="265521"/>
                    <a:pt x="125921" y="248281"/>
                    <a:pt x="155543" y="247614"/>
                  </a:cubicBezTo>
                  <a:cubicBezTo>
                    <a:pt x="193098" y="248431"/>
                    <a:pt x="226553" y="271546"/>
                    <a:pt x="240602" y="306383"/>
                  </a:cubicBezTo>
                  <a:cubicBezTo>
                    <a:pt x="250456" y="332939"/>
                    <a:pt x="243735" y="362807"/>
                    <a:pt x="223456" y="382583"/>
                  </a:cubicBezTo>
                  <a:close/>
                  <a:moveTo>
                    <a:pt x="31337" y="258758"/>
                  </a:moveTo>
                  <a:lnTo>
                    <a:pt x="31337" y="258758"/>
                  </a:lnTo>
                  <a:close/>
                  <a:moveTo>
                    <a:pt x="65913" y="197893"/>
                  </a:moveTo>
                  <a:lnTo>
                    <a:pt x="65913" y="197893"/>
                  </a:lnTo>
                  <a:close/>
                  <a:moveTo>
                    <a:pt x="119348" y="91499"/>
                  </a:moveTo>
                  <a:lnTo>
                    <a:pt x="119348" y="91975"/>
                  </a:lnTo>
                  <a:close/>
                  <a:moveTo>
                    <a:pt x="134684" y="91499"/>
                  </a:moveTo>
                  <a:lnTo>
                    <a:pt x="134684" y="9197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7" name="Freeform: Shape 538">
              <a:extLst>
                <a:ext uri="{FF2B5EF4-FFF2-40B4-BE49-F238E27FC236}">
                  <a16:creationId xmlns:a16="http://schemas.microsoft.com/office/drawing/2014/main" id="{92AE64D9-D6FB-D14E-9843-9AC9BFC779C0}"/>
                </a:ext>
              </a:extLst>
            </p:cNvPr>
            <p:cNvSpPr/>
            <p:nvPr/>
          </p:nvSpPr>
          <p:spPr>
            <a:xfrm>
              <a:off x="1624729" y="3033185"/>
              <a:ext cx="333375" cy="419100"/>
            </a:xfrm>
            <a:custGeom>
              <a:avLst/>
              <a:gdLst>
                <a:gd name="connsiteX0" fmla="*/ 313468 w 333375"/>
                <a:gd name="connsiteY0" fmla="*/ 412674 h 419100"/>
                <a:gd name="connsiteX1" fmla="*/ 19907 w 333375"/>
                <a:gd name="connsiteY1" fmla="*/ 412674 h 419100"/>
                <a:gd name="connsiteX2" fmla="*/ 7144 w 333375"/>
                <a:gd name="connsiteY2" fmla="*/ 399911 h 419100"/>
                <a:gd name="connsiteX3" fmla="*/ 19907 w 333375"/>
                <a:gd name="connsiteY3" fmla="*/ 387147 h 419100"/>
                <a:gd name="connsiteX4" fmla="*/ 304133 w 333375"/>
                <a:gd name="connsiteY4" fmla="*/ 387147 h 419100"/>
                <a:gd name="connsiteX5" fmla="*/ 304133 w 333375"/>
                <a:gd name="connsiteY5" fmla="*/ 116256 h 419100"/>
                <a:gd name="connsiteX6" fmla="*/ 222028 w 333375"/>
                <a:gd name="connsiteY6" fmla="*/ 116256 h 419100"/>
                <a:gd name="connsiteX7" fmla="*/ 215074 w 333375"/>
                <a:gd name="connsiteY7" fmla="*/ 114637 h 419100"/>
                <a:gd name="connsiteX8" fmla="*/ 207302 w 333375"/>
                <a:gd name="connsiteY8" fmla="*/ 93527 h 419100"/>
                <a:gd name="connsiteX9" fmla="*/ 207454 w 333375"/>
                <a:gd name="connsiteY9" fmla="*/ 93206 h 419100"/>
                <a:gd name="connsiteX10" fmla="*/ 202216 w 333375"/>
                <a:gd name="connsiteY10" fmla="*/ 44152 h 419100"/>
                <a:gd name="connsiteX11" fmla="*/ 139827 w 333375"/>
                <a:gd name="connsiteY11" fmla="*/ 40628 h 419100"/>
                <a:gd name="connsiteX12" fmla="*/ 127444 w 333375"/>
                <a:gd name="connsiteY12" fmla="*/ 94920 h 419100"/>
                <a:gd name="connsiteX13" fmla="*/ 128206 w 333375"/>
                <a:gd name="connsiteY13" fmla="*/ 100350 h 419100"/>
                <a:gd name="connsiteX14" fmla="*/ 111633 w 333375"/>
                <a:gd name="connsiteY14" fmla="*/ 115971 h 419100"/>
                <a:gd name="connsiteX15" fmla="*/ 20574 w 333375"/>
                <a:gd name="connsiteY15" fmla="*/ 115971 h 419100"/>
                <a:gd name="connsiteX16" fmla="*/ 7810 w 333375"/>
                <a:gd name="connsiteY16" fmla="*/ 103207 h 419100"/>
                <a:gd name="connsiteX17" fmla="*/ 20574 w 333375"/>
                <a:gd name="connsiteY17" fmla="*/ 90444 h 419100"/>
                <a:gd name="connsiteX18" fmla="*/ 100013 w 333375"/>
                <a:gd name="connsiteY18" fmla="*/ 90444 h 419100"/>
                <a:gd name="connsiteX19" fmla="*/ 125825 w 333375"/>
                <a:gd name="connsiteY19" fmla="*/ 19292 h 419100"/>
                <a:gd name="connsiteX20" fmla="*/ 218789 w 333375"/>
                <a:gd name="connsiteY20" fmla="*/ 24816 h 419100"/>
                <a:gd name="connsiteX21" fmla="*/ 235648 w 333375"/>
                <a:gd name="connsiteY21" fmla="*/ 91015 h 419100"/>
                <a:gd name="connsiteX22" fmla="*/ 313563 w 333375"/>
                <a:gd name="connsiteY22" fmla="*/ 91015 h 419100"/>
                <a:gd name="connsiteX23" fmla="*/ 329660 w 333375"/>
                <a:gd name="connsiteY23" fmla="*/ 107208 h 419100"/>
                <a:gd name="connsiteX24" fmla="*/ 329660 w 333375"/>
                <a:gd name="connsiteY24" fmla="*/ 396863 h 419100"/>
                <a:gd name="connsiteX25" fmla="*/ 313468 w 333375"/>
                <a:gd name="connsiteY25" fmla="*/ 412674 h 419100"/>
                <a:gd name="connsiteX26" fmla="*/ 230696 w 333375"/>
                <a:gd name="connsiteY26" fmla="*/ 103779 h 419100"/>
                <a:gd name="connsiteX27" fmla="*/ 230696 w 333375"/>
                <a:gd name="connsiteY27" fmla="*/ 103779 h 419100"/>
                <a:gd name="connsiteX28" fmla="*/ 102965 w 333375"/>
                <a:gd name="connsiteY28" fmla="*/ 102255 h 419100"/>
                <a:gd name="connsiteX29" fmla="*/ 102965 w 333375"/>
                <a:gd name="connsiteY29" fmla="*/ 103017 h 419100"/>
                <a:gd name="connsiteX30" fmla="*/ 222028 w 333375"/>
                <a:gd name="connsiteY30" fmla="*/ 91015 h 419100"/>
                <a:gd name="connsiteX31" fmla="*/ 222028 w 333375"/>
                <a:gd name="connsiteY31" fmla="*/ 91015 h 419100"/>
                <a:gd name="connsiteX32" fmla="*/ 111633 w 333375"/>
                <a:gd name="connsiteY32" fmla="*/ 91015 h 419100"/>
                <a:gd name="connsiteX33" fmla="*/ 111633 w 333375"/>
                <a:gd name="connsiteY33" fmla="*/ 91015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333375" h="419100">
                  <a:moveTo>
                    <a:pt x="313468" y="412674"/>
                  </a:moveTo>
                  <a:lnTo>
                    <a:pt x="19907" y="412674"/>
                  </a:lnTo>
                  <a:cubicBezTo>
                    <a:pt x="12858" y="412674"/>
                    <a:pt x="7144" y="406960"/>
                    <a:pt x="7144" y="399911"/>
                  </a:cubicBezTo>
                  <a:cubicBezTo>
                    <a:pt x="7144" y="392862"/>
                    <a:pt x="12858" y="387147"/>
                    <a:pt x="19907" y="387147"/>
                  </a:cubicBezTo>
                  <a:lnTo>
                    <a:pt x="304133" y="387147"/>
                  </a:lnTo>
                  <a:lnTo>
                    <a:pt x="304133" y="116256"/>
                  </a:lnTo>
                  <a:lnTo>
                    <a:pt x="222028" y="116256"/>
                  </a:lnTo>
                  <a:cubicBezTo>
                    <a:pt x="219608" y="116335"/>
                    <a:pt x="217210" y="115777"/>
                    <a:pt x="215074" y="114637"/>
                  </a:cubicBezTo>
                  <a:cubicBezTo>
                    <a:pt x="207099" y="110954"/>
                    <a:pt x="203619" y="101503"/>
                    <a:pt x="207302" y="93527"/>
                  </a:cubicBezTo>
                  <a:cubicBezTo>
                    <a:pt x="207351" y="93419"/>
                    <a:pt x="207402" y="93312"/>
                    <a:pt x="207454" y="93206"/>
                  </a:cubicBezTo>
                  <a:cubicBezTo>
                    <a:pt x="216979" y="72346"/>
                    <a:pt x="215265" y="55106"/>
                    <a:pt x="202216" y="44152"/>
                  </a:cubicBezTo>
                  <a:cubicBezTo>
                    <a:pt x="184106" y="30304"/>
                    <a:pt x="159381" y="28907"/>
                    <a:pt x="139827" y="40628"/>
                  </a:cubicBezTo>
                  <a:cubicBezTo>
                    <a:pt x="123920" y="51105"/>
                    <a:pt x="119634" y="69870"/>
                    <a:pt x="127444" y="94920"/>
                  </a:cubicBezTo>
                  <a:cubicBezTo>
                    <a:pt x="128017" y="96671"/>
                    <a:pt x="128275" y="98509"/>
                    <a:pt x="128206" y="100350"/>
                  </a:cubicBezTo>
                  <a:cubicBezTo>
                    <a:pt x="127846" y="109196"/>
                    <a:pt x="120485" y="116133"/>
                    <a:pt x="111633" y="115971"/>
                  </a:cubicBezTo>
                  <a:lnTo>
                    <a:pt x="20574" y="115971"/>
                  </a:lnTo>
                  <a:cubicBezTo>
                    <a:pt x="13525" y="115971"/>
                    <a:pt x="7810" y="110256"/>
                    <a:pt x="7810" y="103207"/>
                  </a:cubicBezTo>
                  <a:cubicBezTo>
                    <a:pt x="7810" y="96158"/>
                    <a:pt x="13525" y="90444"/>
                    <a:pt x="20574" y="90444"/>
                  </a:cubicBezTo>
                  <a:lnTo>
                    <a:pt x="100013" y="90444"/>
                  </a:lnTo>
                  <a:cubicBezTo>
                    <a:pt x="94012" y="59583"/>
                    <a:pt x="103156" y="34246"/>
                    <a:pt x="125825" y="19292"/>
                  </a:cubicBezTo>
                  <a:cubicBezTo>
                    <a:pt x="154855" y="1257"/>
                    <a:pt x="192099" y="3470"/>
                    <a:pt x="218789" y="24816"/>
                  </a:cubicBezTo>
                  <a:cubicBezTo>
                    <a:pt x="237745" y="41158"/>
                    <a:pt x="244479" y="67597"/>
                    <a:pt x="235648" y="91015"/>
                  </a:cubicBezTo>
                  <a:lnTo>
                    <a:pt x="313563" y="91015"/>
                  </a:lnTo>
                  <a:cubicBezTo>
                    <a:pt x="322469" y="91068"/>
                    <a:pt x="329660" y="98302"/>
                    <a:pt x="329660" y="107208"/>
                  </a:cubicBezTo>
                  <a:lnTo>
                    <a:pt x="329660" y="396863"/>
                  </a:lnTo>
                  <a:cubicBezTo>
                    <a:pt x="329453" y="405657"/>
                    <a:pt x="322264" y="412677"/>
                    <a:pt x="313468" y="412674"/>
                  </a:cubicBezTo>
                  <a:close/>
                  <a:moveTo>
                    <a:pt x="230696" y="103779"/>
                  </a:moveTo>
                  <a:lnTo>
                    <a:pt x="230696" y="103779"/>
                  </a:lnTo>
                  <a:close/>
                  <a:moveTo>
                    <a:pt x="102965" y="102255"/>
                  </a:moveTo>
                  <a:lnTo>
                    <a:pt x="102965" y="103017"/>
                  </a:lnTo>
                  <a:close/>
                  <a:moveTo>
                    <a:pt x="222028" y="91015"/>
                  </a:moveTo>
                  <a:lnTo>
                    <a:pt x="222028" y="91015"/>
                  </a:lnTo>
                  <a:close/>
                  <a:moveTo>
                    <a:pt x="111633" y="91015"/>
                  </a:moveTo>
                  <a:lnTo>
                    <a:pt x="111633" y="91015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8" name="Freeform: Shape 539">
              <a:extLst>
                <a:ext uri="{FF2B5EF4-FFF2-40B4-BE49-F238E27FC236}">
                  <a16:creationId xmlns:a16="http://schemas.microsoft.com/office/drawing/2014/main" id="{731215AF-E1D4-5B49-96FE-D33C3DD8E837}"/>
                </a:ext>
              </a:extLst>
            </p:cNvPr>
            <p:cNvSpPr/>
            <p:nvPr/>
          </p:nvSpPr>
          <p:spPr>
            <a:xfrm>
              <a:off x="1329931" y="2812256"/>
              <a:ext cx="333375" cy="352425"/>
            </a:xfrm>
            <a:custGeom>
              <a:avLst/>
              <a:gdLst>
                <a:gd name="connsiteX0" fmla="*/ 19907 w 333375"/>
                <a:gd name="connsiteY0" fmla="*/ 345758 h 352425"/>
                <a:gd name="connsiteX1" fmla="*/ 7144 w 333375"/>
                <a:gd name="connsiteY1" fmla="*/ 332994 h 352425"/>
                <a:gd name="connsiteX2" fmla="*/ 7144 w 333375"/>
                <a:gd name="connsiteY2" fmla="*/ 22956 h 352425"/>
                <a:gd name="connsiteX3" fmla="*/ 22860 w 333375"/>
                <a:gd name="connsiteY3" fmla="*/ 7144 h 352425"/>
                <a:gd name="connsiteX4" fmla="*/ 313372 w 333375"/>
                <a:gd name="connsiteY4" fmla="*/ 7144 h 352425"/>
                <a:gd name="connsiteX5" fmla="*/ 329565 w 333375"/>
                <a:gd name="connsiteY5" fmla="*/ 22860 h 352425"/>
                <a:gd name="connsiteX6" fmla="*/ 329565 w 333375"/>
                <a:gd name="connsiteY6" fmla="*/ 100965 h 352425"/>
                <a:gd name="connsiteX7" fmla="*/ 324421 w 333375"/>
                <a:gd name="connsiteY7" fmla="*/ 111919 h 352425"/>
                <a:gd name="connsiteX8" fmla="*/ 312801 w 333375"/>
                <a:gd name="connsiteY8" fmla="*/ 116205 h 352425"/>
                <a:gd name="connsiteX9" fmla="*/ 308419 w 333375"/>
                <a:gd name="connsiteY9" fmla="*/ 115443 h 352425"/>
                <a:gd name="connsiteX10" fmla="*/ 250698 w 333375"/>
                <a:gd name="connsiteY10" fmla="*/ 130207 h 352425"/>
                <a:gd name="connsiteX11" fmla="*/ 247650 w 333375"/>
                <a:gd name="connsiteY11" fmla="*/ 204312 h 352425"/>
                <a:gd name="connsiteX12" fmla="*/ 308896 w 333375"/>
                <a:gd name="connsiteY12" fmla="*/ 222409 h 352425"/>
                <a:gd name="connsiteX13" fmla="*/ 320897 w 333375"/>
                <a:gd name="connsiteY13" fmla="*/ 224219 h 352425"/>
                <a:gd name="connsiteX14" fmla="*/ 328422 w 333375"/>
                <a:gd name="connsiteY14" fmla="*/ 233744 h 352425"/>
                <a:gd name="connsiteX15" fmla="*/ 328422 w 333375"/>
                <a:gd name="connsiteY15" fmla="*/ 237268 h 352425"/>
                <a:gd name="connsiteX16" fmla="*/ 328422 w 333375"/>
                <a:gd name="connsiteY16" fmla="*/ 319088 h 352425"/>
                <a:gd name="connsiteX17" fmla="*/ 315659 w 333375"/>
                <a:gd name="connsiteY17" fmla="*/ 331851 h 352425"/>
                <a:gd name="connsiteX18" fmla="*/ 302895 w 333375"/>
                <a:gd name="connsiteY18" fmla="*/ 319088 h 352425"/>
                <a:gd name="connsiteX19" fmla="*/ 302895 w 333375"/>
                <a:gd name="connsiteY19" fmla="*/ 249841 h 352425"/>
                <a:gd name="connsiteX20" fmla="*/ 225743 w 333375"/>
                <a:gd name="connsiteY20" fmla="*/ 218694 h 352425"/>
                <a:gd name="connsiteX21" fmla="*/ 229838 w 333375"/>
                <a:gd name="connsiteY21" fmla="*/ 115158 h 352425"/>
                <a:gd name="connsiteX22" fmla="*/ 303562 w 333375"/>
                <a:gd name="connsiteY22" fmla="*/ 88488 h 352425"/>
                <a:gd name="connsiteX23" fmla="*/ 303562 w 333375"/>
                <a:gd name="connsiteY23" fmla="*/ 32290 h 352425"/>
                <a:gd name="connsiteX24" fmla="*/ 32671 w 333375"/>
                <a:gd name="connsiteY24" fmla="*/ 32290 h 352425"/>
                <a:gd name="connsiteX25" fmla="*/ 32671 w 333375"/>
                <a:gd name="connsiteY25" fmla="*/ 332994 h 352425"/>
                <a:gd name="connsiteX26" fmla="*/ 19907 w 333375"/>
                <a:gd name="connsiteY26" fmla="*/ 345758 h 352425"/>
                <a:gd name="connsiteX27" fmla="*/ 315182 w 333375"/>
                <a:gd name="connsiteY27" fmla="*/ 247650 h 352425"/>
                <a:gd name="connsiteX28" fmla="*/ 315182 w 333375"/>
                <a:gd name="connsiteY28" fmla="*/ 247650 h 352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33375" h="352425">
                  <a:moveTo>
                    <a:pt x="19907" y="345758"/>
                  </a:moveTo>
                  <a:cubicBezTo>
                    <a:pt x="12858" y="345758"/>
                    <a:pt x="7144" y="340043"/>
                    <a:pt x="7144" y="332994"/>
                  </a:cubicBezTo>
                  <a:lnTo>
                    <a:pt x="7144" y="22956"/>
                  </a:lnTo>
                  <a:cubicBezTo>
                    <a:pt x="7295" y="14323"/>
                    <a:pt x="14229" y="7347"/>
                    <a:pt x="22860" y="7144"/>
                  </a:cubicBezTo>
                  <a:lnTo>
                    <a:pt x="313372" y="7144"/>
                  </a:lnTo>
                  <a:cubicBezTo>
                    <a:pt x="322153" y="7090"/>
                    <a:pt x="329357" y="14082"/>
                    <a:pt x="329565" y="22860"/>
                  </a:cubicBezTo>
                  <a:lnTo>
                    <a:pt x="329565" y="100965"/>
                  </a:lnTo>
                  <a:cubicBezTo>
                    <a:pt x="329292" y="105134"/>
                    <a:pt x="327455" y="109047"/>
                    <a:pt x="324421" y="111919"/>
                  </a:cubicBezTo>
                  <a:cubicBezTo>
                    <a:pt x="321329" y="114928"/>
                    <a:pt x="317107" y="116486"/>
                    <a:pt x="312801" y="116205"/>
                  </a:cubicBezTo>
                  <a:cubicBezTo>
                    <a:pt x="311314" y="116137"/>
                    <a:pt x="309842" y="115881"/>
                    <a:pt x="308419" y="115443"/>
                  </a:cubicBezTo>
                  <a:cubicBezTo>
                    <a:pt x="277177" y="105918"/>
                    <a:pt x="259747" y="118110"/>
                    <a:pt x="250698" y="130207"/>
                  </a:cubicBezTo>
                  <a:cubicBezTo>
                    <a:pt x="235117" y="152132"/>
                    <a:pt x="233922" y="181181"/>
                    <a:pt x="247650" y="204312"/>
                  </a:cubicBezTo>
                  <a:cubicBezTo>
                    <a:pt x="259747" y="222790"/>
                    <a:pt x="280892" y="229077"/>
                    <a:pt x="308896" y="222409"/>
                  </a:cubicBezTo>
                  <a:cubicBezTo>
                    <a:pt x="312980" y="221433"/>
                    <a:pt x="317283" y="222082"/>
                    <a:pt x="320897" y="224219"/>
                  </a:cubicBezTo>
                  <a:cubicBezTo>
                    <a:pt x="324526" y="226321"/>
                    <a:pt x="327217" y="229727"/>
                    <a:pt x="328422" y="233744"/>
                  </a:cubicBezTo>
                  <a:cubicBezTo>
                    <a:pt x="328515" y="234917"/>
                    <a:pt x="328515" y="236095"/>
                    <a:pt x="328422" y="237268"/>
                  </a:cubicBezTo>
                  <a:lnTo>
                    <a:pt x="328422" y="319088"/>
                  </a:lnTo>
                  <a:cubicBezTo>
                    <a:pt x="328422" y="326137"/>
                    <a:pt x="322708" y="331851"/>
                    <a:pt x="315659" y="331851"/>
                  </a:cubicBezTo>
                  <a:cubicBezTo>
                    <a:pt x="308609" y="331851"/>
                    <a:pt x="302895" y="326137"/>
                    <a:pt x="302895" y="319088"/>
                  </a:cubicBezTo>
                  <a:lnTo>
                    <a:pt x="302895" y="249841"/>
                  </a:lnTo>
                  <a:cubicBezTo>
                    <a:pt x="269558" y="254318"/>
                    <a:pt x="241935" y="243364"/>
                    <a:pt x="225743" y="218694"/>
                  </a:cubicBezTo>
                  <a:cubicBezTo>
                    <a:pt x="206274" y="186470"/>
                    <a:pt x="207885" y="145743"/>
                    <a:pt x="229838" y="115158"/>
                  </a:cubicBezTo>
                  <a:cubicBezTo>
                    <a:pt x="246935" y="92414"/>
                    <a:pt x="275871" y="81946"/>
                    <a:pt x="303562" y="88488"/>
                  </a:cubicBezTo>
                  <a:lnTo>
                    <a:pt x="303562" y="32290"/>
                  </a:lnTo>
                  <a:lnTo>
                    <a:pt x="32671" y="32290"/>
                  </a:lnTo>
                  <a:lnTo>
                    <a:pt x="32671" y="332994"/>
                  </a:lnTo>
                  <a:cubicBezTo>
                    <a:pt x="32671" y="340043"/>
                    <a:pt x="26956" y="345758"/>
                    <a:pt x="19907" y="345758"/>
                  </a:cubicBezTo>
                  <a:close/>
                  <a:moveTo>
                    <a:pt x="315182" y="247650"/>
                  </a:moveTo>
                  <a:lnTo>
                    <a:pt x="315182" y="24765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9" name="Freeform: Shape 540">
              <a:extLst>
                <a:ext uri="{FF2B5EF4-FFF2-40B4-BE49-F238E27FC236}">
                  <a16:creationId xmlns:a16="http://schemas.microsoft.com/office/drawing/2014/main" id="{6002247D-6FD1-5B4B-9769-505A0F26B39C}"/>
                </a:ext>
              </a:extLst>
            </p:cNvPr>
            <p:cNvSpPr/>
            <p:nvPr/>
          </p:nvSpPr>
          <p:spPr>
            <a:xfrm>
              <a:off x="1330309" y="3115723"/>
              <a:ext cx="409575" cy="333375"/>
            </a:xfrm>
            <a:custGeom>
              <a:avLst/>
              <a:gdLst>
                <a:gd name="connsiteX0" fmla="*/ 312232 w 409575"/>
                <a:gd name="connsiteY0" fmla="*/ 329660 h 333375"/>
                <a:gd name="connsiteX1" fmla="*/ 23244 w 409575"/>
                <a:gd name="connsiteY1" fmla="*/ 329660 h 333375"/>
                <a:gd name="connsiteX2" fmla="*/ 7144 w 409575"/>
                <a:gd name="connsiteY2" fmla="*/ 313566 h 333375"/>
                <a:gd name="connsiteX3" fmla="*/ 7146 w 409575"/>
                <a:gd name="connsiteY3" fmla="*/ 313277 h 333375"/>
                <a:gd name="connsiteX4" fmla="*/ 7146 w 409575"/>
                <a:gd name="connsiteY4" fmla="*/ 23336 h 333375"/>
                <a:gd name="connsiteX5" fmla="*/ 22767 w 409575"/>
                <a:gd name="connsiteY5" fmla="*/ 7144 h 333375"/>
                <a:gd name="connsiteX6" fmla="*/ 98967 w 409575"/>
                <a:gd name="connsiteY6" fmla="*/ 7144 h 333375"/>
                <a:gd name="connsiteX7" fmla="*/ 115070 w 409575"/>
                <a:gd name="connsiteY7" fmla="*/ 23614 h 333375"/>
                <a:gd name="connsiteX8" fmla="*/ 115064 w 409575"/>
                <a:gd name="connsiteY8" fmla="*/ 23908 h 333375"/>
                <a:gd name="connsiteX9" fmla="*/ 114207 w 409575"/>
                <a:gd name="connsiteY9" fmla="*/ 28289 h 333375"/>
                <a:gd name="connsiteX10" fmla="*/ 129161 w 409575"/>
                <a:gd name="connsiteY10" fmla="*/ 86392 h 333375"/>
                <a:gd name="connsiteX11" fmla="*/ 201361 w 409575"/>
                <a:gd name="connsiteY11" fmla="*/ 89249 h 333375"/>
                <a:gd name="connsiteX12" fmla="*/ 219554 w 409575"/>
                <a:gd name="connsiteY12" fmla="*/ 27718 h 333375"/>
                <a:gd name="connsiteX13" fmla="*/ 231494 w 409575"/>
                <a:gd name="connsiteY13" fmla="*/ 8336 h 333375"/>
                <a:gd name="connsiteX14" fmla="*/ 235651 w 409575"/>
                <a:gd name="connsiteY14" fmla="*/ 7906 h 333375"/>
                <a:gd name="connsiteX15" fmla="*/ 311851 w 409575"/>
                <a:gd name="connsiteY15" fmla="*/ 7906 h 333375"/>
                <a:gd name="connsiteX16" fmla="*/ 322995 w 409575"/>
                <a:gd name="connsiteY16" fmla="*/ 12287 h 333375"/>
                <a:gd name="connsiteX17" fmla="*/ 328043 w 409575"/>
                <a:gd name="connsiteY17" fmla="*/ 23336 h 333375"/>
                <a:gd name="connsiteX18" fmla="*/ 328044 w 409575"/>
                <a:gd name="connsiteY18" fmla="*/ 99536 h 333375"/>
                <a:gd name="connsiteX19" fmla="*/ 399195 w 409575"/>
                <a:gd name="connsiteY19" fmla="*/ 125349 h 333375"/>
                <a:gd name="connsiteX20" fmla="*/ 393671 w 409575"/>
                <a:gd name="connsiteY20" fmla="*/ 218313 h 333375"/>
                <a:gd name="connsiteX21" fmla="*/ 327663 w 409575"/>
                <a:gd name="connsiteY21" fmla="*/ 235077 h 333375"/>
                <a:gd name="connsiteX22" fmla="*/ 327663 w 409575"/>
                <a:gd name="connsiteY22" fmla="*/ 313277 h 333375"/>
                <a:gd name="connsiteX23" fmla="*/ 311661 w 409575"/>
                <a:gd name="connsiteY23" fmla="*/ 329375 h 333375"/>
                <a:gd name="connsiteX24" fmla="*/ 32673 w 409575"/>
                <a:gd name="connsiteY24" fmla="*/ 313277 h 333375"/>
                <a:gd name="connsiteX25" fmla="*/ 32673 w 409575"/>
                <a:gd name="connsiteY25" fmla="*/ 313277 h 333375"/>
                <a:gd name="connsiteX26" fmla="*/ 32673 w 409575"/>
                <a:gd name="connsiteY26" fmla="*/ 303752 h 333375"/>
                <a:gd name="connsiteX27" fmla="*/ 302802 w 409575"/>
                <a:gd name="connsiteY27" fmla="*/ 303752 h 333375"/>
                <a:gd name="connsiteX28" fmla="*/ 302802 w 409575"/>
                <a:gd name="connsiteY28" fmla="*/ 221647 h 333375"/>
                <a:gd name="connsiteX29" fmla="*/ 304326 w 409575"/>
                <a:gd name="connsiteY29" fmla="*/ 214884 h 333375"/>
                <a:gd name="connsiteX30" fmla="*/ 325758 w 409575"/>
                <a:gd name="connsiteY30" fmla="*/ 206978 h 333375"/>
                <a:gd name="connsiteX31" fmla="*/ 375002 w 409575"/>
                <a:gd name="connsiteY31" fmla="*/ 201835 h 333375"/>
                <a:gd name="connsiteX32" fmla="*/ 378526 w 409575"/>
                <a:gd name="connsiteY32" fmla="*/ 139446 h 333375"/>
                <a:gd name="connsiteX33" fmla="*/ 324234 w 409575"/>
                <a:gd name="connsiteY33" fmla="*/ 127159 h 333375"/>
                <a:gd name="connsiteX34" fmla="*/ 319281 w 409575"/>
                <a:gd name="connsiteY34" fmla="*/ 127921 h 333375"/>
                <a:gd name="connsiteX35" fmla="*/ 308041 w 409575"/>
                <a:gd name="connsiteY35" fmla="*/ 123254 h 333375"/>
                <a:gd name="connsiteX36" fmla="*/ 303183 w 409575"/>
                <a:gd name="connsiteY36" fmla="*/ 111824 h 333375"/>
                <a:gd name="connsiteX37" fmla="*/ 303183 w 409575"/>
                <a:gd name="connsiteY37" fmla="*/ 33433 h 333375"/>
                <a:gd name="connsiteX38" fmla="*/ 246986 w 409575"/>
                <a:gd name="connsiteY38" fmla="*/ 33433 h 333375"/>
                <a:gd name="connsiteX39" fmla="*/ 215839 w 409575"/>
                <a:gd name="connsiteY39" fmla="*/ 110681 h 333375"/>
                <a:gd name="connsiteX40" fmla="*/ 114303 w 409575"/>
                <a:gd name="connsiteY40" fmla="*/ 106775 h 333375"/>
                <a:gd name="connsiteX41" fmla="*/ 87823 w 409575"/>
                <a:gd name="connsiteY41" fmla="*/ 32671 h 333375"/>
                <a:gd name="connsiteX42" fmla="*/ 32673 w 409575"/>
                <a:gd name="connsiteY42" fmla="*/ 32671 h 333375"/>
                <a:gd name="connsiteX43" fmla="*/ 316423 w 409575"/>
                <a:gd name="connsiteY43" fmla="*/ 103156 h 333375"/>
                <a:gd name="connsiteX44" fmla="*/ 316423 w 409575"/>
                <a:gd name="connsiteY44" fmla="*/ 103156 h 333375"/>
                <a:gd name="connsiteX45" fmla="*/ 235746 w 409575"/>
                <a:gd name="connsiteY45" fmla="*/ 33433 h 333375"/>
                <a:gd name="connsiteX46" fmla="*/ 235746 w 409575"/>
                <a:gd name="connsiteY46" fmla="*/ 33433 h 333375"/>
                <a:gd name="connsiteX47" fmla="*/ 311946 w 409575"/>
                <a:gd name="connsiteY47" fmla="*/ 33433 h 333375"/>
                <a:gd name="connsiteX48" fmla="*/ 311946 w 409575"/>
                <a:gd name="connsiteY48" fmla="*/ 33433 h 333375"/>
                <a:gd name="connsiteX49" fmla="*/ 32292 w 409575"/>
                <a:gd name="connsiteY49" fmla="*/ 22955 h 333375"/>
                <a:gd name="connsiteX50" fmla="*/ 32292 w 409575"/>
                <a:gd name="connsiteY50" fmla="*/ 22955 h 333375"/>
                <a:gd name="connsiteX51" fmla="*/ 244319 w 409575"/>
                <a:gd name="connsiteY51" fmla="*/ 21527 h 333375"/>
                <a:gd name="connsiteX52" fmla="*/ 244319 w 409575"/>
                <a:gd name="connsiteY52" fmla="*/ 22098 h 333375"/>
                <a:gd name="connsiteX53" fmla="*/ 244700 w 409575"/>
                <a:gd name="connsiteY53" fmla="*/ 21527 h 333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409575" h="333375">
                  <a:moveTo>
                    <a:pt x="312232" y="329660"/>
                  </a:moveTo>
                  <a:lnTo>
                    <a:pt x="23244" y="329660"/>
                  </a:lnTo>
                  <a:cubicBezTo>
                    <a:pt x="14353" y="329662"/>
                    <a:pt x="7145" y="322456"/>
                    <a:pt x="7144" y="313566"/>
                  </a:cubicBezTo>
                  <a:cubicBezTo>
                    <a:pt x="7144" y="313470"/>
                    <a:pt x="7145" y="313373"/>
                    <a:pt x="7146" y="313277"/>
                  </a:cubicBezTo>
                  <a:lnTo>
                    <a:pt x="7146" y="23336"/>
                  </a:lnTo>
                  <a:cubicBezTo>
                    <a:pt x="7091" y="14592"/>
                    <a:pt x="14026" y="7402"/>
                    <a:pt x="22767" y="7144"/>
                  </a:cubicBezTo>
                  <a:lnTo>
                    <a:pt x="98967" y="7144"/>
                  </a:lnTo>
                  <a:cubicBezTo>
                    <a:pt x="107962" y="7245"/>
                    <a:pt x="115172" y="14619"/>
                    <a:pt x="115070" y="23614"/>
                  </a:cubicBezTo>
                  <a:cubicBezTo>
                    <a:pt x="115069" y="23712"/>
                    <a:pt x="115067" y="23810"/>
                    <a:pt x="115064" y="23908"/>
                  </a:cubicBezTo>
                  <a:cubicBezTo>
                    <a:pt x="114917" y="25392"/>
                    <a:pt x="114630" y="26859"/>
                    <a:pt x="114207" y="28289"/>
                  </a:cubicBezTo>
                  <a:cubicBezTo>
                    <a:pt x="104682" y="59817"/>
                    <a:pt x="117065" y="77248"/>
                    <a:pt x="129161" y="86392"/>
                  </a:cubicBezTo>
                  <a:cubicBezTo>
                    <a:pt x="150581" y="101432"/>
                    <a:pt x="178820" y="102550"/>
                    <a:pt x="201361" y="89249"/>
                  </a:cubicBezTo>
                  <a:cubicBezTo>
                    <a:pt x="219840" y="77248"/>
                    <a:pt x="226126" y="55912"/>
                    <a:pt x="219554" y="27718"/>
                  </a:cubicBezTo>
                  <a:cubicBezTo>
                    <a:pt x="217499" y="19068"/>
                    <a:pt x="222845" y="10391"/>
                    <a:pt x="231494" y="8336"/>
                  </a:cubicBezTo>
                  <a:cubicBezTo>
                    <a:pt x="232855" y="8012"/>
                    <a:pt x="234253" y="7868"/>
                    <a:pt x="235651" y="7906"/>
                  </a:cubicBezTo>
                  <a:lnTo>
                    <a:pt x="311851" y="7906"/>
                  </a:lnTo>
                  <a:cubicBezTo>
                    <a:pt x="316006" y="7796"/>
                    <a:pt x="320028" y="9377"/>
                    <a:pt x="322995" y="12287"/>
                  </a:cubicBezTo>
                  <a:cubicBezTo>
                    <a:pt x="326032" y="15187"/>
                    <a:pt x="327839" y="19142"/>
                    <a:pt x="328043" y="23336"/>
                  </a:cubicBezTo>
                  <a:lnTo>
                    <a:pt x="328044" y="99536"/>
                  </a:lnTo>
                  <a:cubicBezTo>
                    <a:pt x="358714" y="93536"/>
                    <a:pt x="384241" y="102584"/>
                    <a:pt x="399195" y="125349"/>
                  </a:cubicBezTo>
                  <a:cubicBezTo>
                    <a:pt x="417230" y="154379"/>
                    <a:pt x="415017" y="191623"/>
                    <a:pt x="393671" y="218313"/>
                  </a:cubicBezTo>
                  <a:cubicBezTo>
                    <a:pt x="377337" y="237153"/>
                    <a:pt x="351006" y="243840"/>
                    <a:pt x="327663" y="235077"/>
                  </a:cubicBezTo>
                  <a:lnTo>
                    <a:pt x="327663" y="313277"/>
                  </a:lnTo>
                  <a:cubicBezTo>
                    <a:pt x="327663" y="322130"/>
                    <a:pt x="320514" y="329322"/>
                    <a:pt x="311661" y="329375"/>
                  </a:cubicBezTo>
                  <a:close/>
                  <a:moveTo>
                    <a:pt x="32673" y="313277"/>
                  </a:moveTo>
                  <a:lnTo>
                    <a:pt x="32673" y="313277"/>
                  </a:lnTo>
                  <a:close/>
                  <a:moveTo>
                    <a:pt x="32673" y="303752"/>
                  </a:moveTo>
                  <a:lnTo>
                    <a:pt x="302802" y="303752"/>
                  </a:lnTo>
                  <a:lnTo>
                    <a:pt x="302802" y="221647"/>
                  </a:lnTo>
                  <a:cubicBezTo>
                    <a:pt x="302834" y="219311"/>
                    <a:pt x="303353" y="217007"/>
                    <a:pt x="304326" y="214884"/>
                  </a:cubicBezTo>
                  <a:cubicBezTo>
                    <a:pt x="308077" y="206800"/>
                    <a:pt x="317655" y="203267"/>
                    <a:pt x="325758" y="206978"/>
                  </a:cubicBezTo>
                  <a:cubicBezTo>
                    <a:pt x="346808" y="216503"/>
                    <a:pt x="363858" y="214789"/>
                    <a:pt x="375002" y="201835"/>
                  </a:cubicBezTo>
                  <a:cubicBezTo>
                    <a:pt x="388798" y="183706"/>
                    <a:pt x="390193" y="159013"/>
                    <a:pt x="378526" y="139446"/>
                  </a:cubicBezTo>
                  <a:cubicBezTo>
                    <a:pt x="368049" y="123539"/>
                    <a:pt x="349284" y="119253"/>
                    <a:pt x="324234" y="127159"/>
                  </a:cubicBezTo>
                  <a:cubicBezTo>
                    <a:pt x="322621" y="127619"/>
                    <a:pt x="320957" y="127875"/>
                    <a:pt x="319281" y="127921"/>
                  </a:cubicBezTo>
                  <a:cubicBezTo>
                    <a:pt x="315070" y="127886"/>
                    <a:pt x="311038" y="126212"/>
                    <a:pt x="308041" y="123254"/>
                  </a:cubicBezTo>
                  <a:cubicBezTo>
                    <a:pt x="304931" y="120266"/>
                    <a:pt x="303176" y="116137"/>
                    <a:pt x="303183" y="111824"/>
                  </a:cubicBezTo>
                  <a:lnTo>
                    <a:pt x="303183" y="33433"/>
                  </a:lnTo>
                  <a:lnTo>
                    <a:pt x="246986" y="33433"/>
                  </a:lnTo>
                  <a:cubicBezTo>
                    <a:pt x="251463" y="66961"/>
                    <a:pt x="240413" y="94583"/>
                    <a:pt x="215839" y="110681"/>
                  </a:cubicBezTo>
                  <a:cubicBezTo>
                    <a:pt x="184252" y="129778"/>
                    <a:pt x="144329" y="128242"/>
                    <a:pt x="114303" y="106775"/>
                  </a:cubicBezTo>
                  <a:cubicBezTo>
                    <a:pt x="91566" y="89507"/>
                    <a:pt x="81178" y="60437"/>
                    <a:pt x="87823" y="32671"/>
                  </a:cubicBezTo>
                  <a:lnTo>
                    <a:pt x="32673" y="32671"/>
                  </a:lnTo>
                  <a:close/>
                  <a:moveTo>
                    <a:pt x="316423" y="103156"/>
                  </a:moveTo>
                  <a:lnTo>
                    <a:pt x="316423" y="103156"/>
                  </a:lnTo>
                  <a:close/>
                  <a:moveTo>
                    <a:pt x="235746" y="33433"/>
                  </a:moveTo>
                  <a:lnTo>
                    <a:pt x="235746" y="33433"/>
                  </a:lnTo>
                  <a:close/>
                  <a:moveTo>
                    <a:pt x="311946" y="33433"/>
                  </a:moveTo>
                  <a:lnTo>
                    <a:pt x="311946" y="33433"/>
                  </a:lnTo>
                  <a:close/>
                  <a:moveTo>
                    <a:pt x="32292" y="22955"/>
                  </a:moveTo>
                  <a:lnTo>
                    <a:pt x="32292" y="22955"/>
                  </a:lnTo>
                  <a:close/>
                  <a:moveTo>
                    <a:pt x="244319" y="21527"/>
                  </a:moveTo>
                  <a:lnTo>
                    <a:pt x="244319" y="22098"/>
                  </a:lnTo>
                  <a:cubicBezTo>
                    <a:pt x="244319" y="22098"/>
                    <a:pt x="244795" y="21717"/>
                    <a:pt x="244700" y="2152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02283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  <p:bldP spid="12" grpId="0"/>
      <p:bldP spid="66" grpId="0"/>
      <p:bldP spid="71" grpId="0"/>
      <p:bldP spid="7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4DE28A4D-B796-49F6-AA61-83D619268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AS Proposed Timeline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BDB965F9-9209-D943-83A7-77C3A4A4F76D}"/>
              </a:ext>
            </a:extLst>
          </p:cNvPr>
          <p:cNvGrpSpPr/>
          <p:nvPr/>
        </p:nvGrpSpPr>
        <p:grpSpPr>
          <a:xfrm>
            <a:off x="286621" y="1028537"/>
            <a:ext cx="2801815" cy="5829463"/>
            <a:chOff x="257396" y="1001495"/>
            <a:chExt cx="3282971" cy="5909050"/>
          </a:xfrm>
        </p:grpSpPr>
        <p:sp>
          <p:nvSpPr>
            <p:cNvPr id="121" name="Content Placeholder 1">
              <a:extLst>
                <a:ext uri="{FF2B5EF4-FFF2-40B4-BE49-F238E27FC236}">
                  <a16:creationId xmlns:a16="http://schemas.microsoft.com/office/drawing/2014/main" id="{E1062FB1-CDAC-FD40-803D-DAC451CAE6BE}"/>
                </a:ext>
              </a:extLst>
            </p:cNvPr>
            <p:cNvSpPr txBox="1">
              <a:spLocks/>
            </p:cNvSpPr>
            <p:nvPr/>
          </p:nvSpPr>
          <p:spPr>
            <a:xfrm>
              <a:off x="257396" y="1192255"/>
              <a:ext cx="3282970" cy="571829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vert="horz" lIns="121920" tIns="60960" rIns="121920" bIns="60960" rtlCol="0" anchor="t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fontAlgn="base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GB" sz="1000" dirty="0">
                <a:latin typeface="+mn-lt"/>
              </a:endParaRPr>
            </a:p>
            <a:p>
              <a:pPr marL="0" indent="0" fontAlgn="base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GB" sz="1000" dirty="0">
                <a:latin typeface="+mn-lt"/>
              </a:endParaRPr>
            </a:p>
            <a:p>
              <a:pPr marL="0" indent="0" fontAlgn="base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GB" sz="1000" b="1" dirty="0">
                  <a:latin typeface="+mn-lt"/>
                </a:rPr>
                <a:t>Project Kick-off</a:t>
              </a:r>
              <a:endParaRPr lang="en-US" sz="1000" b="1" dirty="0">
                <a:latin typeface="+mn-lt"/>
              </a:endParaRPr>
            </a:p>
            <a:p>
              <a:pPr fontAlgn="base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GB" sz="1000" b="1" dirty="0">
                <a:solidFill>
                  <a:schemeClr val="accent2"/>
                </a:solidFill>
                <a:latin typeface="+mn-lt"/>
              </a:endParaRPr>
            </a:p>
            <a:p>
              <a:pPr fontAlgn="base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GB" sz="1000" b="1" dirty="0">
                  <a:solidFill>
                    <a:schemeClr val="accent6"/>
                  </a:solidFill>
                  <a:latin typeface="+mn-lt"/>
                </a:rPr>
                <a:t>Initial Engagement Plan</a:t>
              </a:r>
              <a:r>
                <a:rPr lang="en-US" sz="1000" b="1" dirty="0">
                  <a:solidFill>
                    <a:schemeClr val="accent6"/>
                  </a:solidFill>
                  <a:latin typeface="+mn-lt"/>
                </a:rPr>
                <a:t>​</a:t>
              </a:r>
            </a:p>
            <a:p>
              <a:pPr fontAlgn="base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US" sz="1000" b="1" dirty="0">
                <a:solidFill>
                  <a:schemeClr val="accent6"/>
                </a:solidFill>
                <a:latin typeface="+mn-lt"/>
              </a:endParaRPr>
            </a:p>
            <a:p>
              <a:pPr fontAlgn="base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GB" sz="1000" dirty="0">
                  <a:latin typeface="+mn-lt"/>
                </a:rPr>
                <a:t>Establish detailed success plan with</a:t>
              </a:r>
            </a:p>
            <a:p>
              <a:pPr fontAlgn="base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GB" sz="1000" b="1" dirty="0">
                  <a:latin typeface="+mn-lt"/>
                </a:rPr>
                <a:t>month 1, 2, and 3 milestones</a:t>
              </a:r>
              <a:r>
                <a:rPr lang="en-US" sz="1000" b="1" dirty="0">
                  <a:latin typeface="+mn-lt"/>
                </a:rPr>
                <a:t>​</a:t>
              </a:r>
            </a:p>
            <a:p>
              <a:pPr fontAlgn="base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GB" sz="1000" dirty="0">
                <a:latin typeface="+mn-lt"/>
              </a:endParaRPr>
            </a:p>
            <a:p>
              <a:pPr fontAlgn="base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GB" sz="1000" b="1" i="1" dirty="0">
                  <a:solidFill>
                    <a:schemeClr val="accent1"/>
                  </a:solidFill>
                  <a:latin typeface="+mn-lt"/>
                </a:rPr>
                <a:t>AIMS: </a:t>
              </a:r>
              <a:r>
                <a:rPr lang="en-US" sz="1000" b="1" i="1" dirty="0">
                  <a:solidFill>
                    <a:schemeClr val="accent1"/>
                  </a:solidFill>
                  <a:latin typeface="+mn-lt"/>
                </a:rPr>
                <a:t>​</a:t>
              </a:r>
            </a:p>
            <a:p>
              <a:pPr fontAlgn="base">
                <a:lnSpc>
                  <a:spcPct val="100000"/>
                </a:lnSpc>
                <a:spcBef>
                  <a:spcPts val="0"/>
                </a:spcBef>
              </a:pPr>
              <a:r>
                <a:rPr lang="en-GB" sz="1000" dirty="0">
                  <a:latin typeface="+mn-lt"/>
                </a:rPr>
                <a:t>Introduce Eggplant Customer Success Manager</a:t>
              </a:r>
              <a:r>
                <a:rPr lang="en-US" sz="1000" dirty="0">
                  <a:latin typeface="+mn-lt"/>
                </a:rPr>
                <a:t>​</a:t>
              </a:r>
            </a:p>
            <a:p>
              <a:pPr fontAlgn="base">
                <a:lnSpc>
                  <a:spcPct val="100000"/>
                </a:lnSpc>
                <a:spcBef>
                  <a:spcPts val="0"/>
                </a:spcBef>
              </a:pPr>
              <a:r>
                <a:rPr lang="en-GB" sz="1000" dirty="0">
                  <a:latin typeface="+mn-lt"/>
                </a:rPr>
                <a:t>Introduce Eggplant Technical Consultant(s)</a:t>
              </a:r>
              <a:r>
                <a:rPr lang="en-US" sz="1000" dirty="0">
                  <a:latin typeface="+mn-lt"/>
                </a:rPr>
                <a:t>​</a:t>
              </a:r>
            </a:p>
            <a:p>
              <a:pPr fontAlgn="base">
                <a:lnSpc>
                  <a:spcPct val="100000"/>
                </a:lnSpc>
                <a:spcBef>
                  <a:spcPts val="0"/>
                </a:spcBef>
              </a:pPr>
              <a:r>
                <a:rPr lang="en-US" sz="1000" dirty="0">
                  <a:latin typeface="+mn-lt"/>
                </a:rPr>
                <a:t>Determine Resource Model​</a:t>
              </a:r>
            </a:p>
            <a:p>
              <a:pPr fontAlgn="base">
                <a:lnSpc>
                  <a:spcPct val="100000"/>
                </a:lnSpc>
                <a:spcBef>
                  <a:spcPts val="0"/>
                </a:spcBef>
              </a:pPr>
              <a:r>
                <a:rPr lang="en-US" sz="1000" dirty="0">
                  <a:latin typeface="+mn-lt"/>
                </a:rPr>
                <a:t>Onsite/Offsite/Offshore​</a:t>
              </a:r>
            </a:p>
            <a:p>
              <a:pPr fontAlgn="base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000" dirty="0">
                  <a:latin typeface="+mn-lt"/>
                </a:rPr>
                <a:t>​</a:t>
              </a:r>
              <a:endParaRPr lang="en-US" sz="1000" b="1" dirty="0">
                <a:solidFill>
                  <a:schemeClr val="accent1"/>
                </a:solidFill>
                <a:latin typeface="+mn-lt"/>
              </a:endParaRPr>
            </a:p>
            <a:p>
              <a:pPr fontAlgn="base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GB" sz="1000" b="1" dirty="0">
                  <a:solidFill>
                    <a:schemeClr val="accent6"/>
                  </a:solidFill>
                  <a:latin typeface="+mn-lt"/>
                </a:rPr>
                <a:t>Deployment of Platform</a:t>
              </a:r>
              <a:endParaRPr lang="en-US" sz="1000" dirty="0">
                <a:solidFill>
                  <a:schemeClr val="accent6"/>
                </a:solidFill>
                <a:latin typeface="+mn-lt"/>
              </a:endParaRPr>
            </a:p>
            <a:p>
              <a:pPr fontAlgn="base">
                <a:lnSpc>
                  <a:spcPct val="100000"/>
                </a:lnSpc>
                <a:spcBef>
                  <a:spcPts val="0"/>
                </a:spcBef>
              </a:pPr>
              <a:r>
                <a:rPr lang="en-GB" sz="1000" dirty="0">
                  <a:latin typeface="+mn-lt"/>
                </a:rPr>
                <a:t>Ensure tool scales to the expectation of the customer (i.e., all teams can access tools / tool can reach CI/CD platforms. )</a:t>
              </a:r>
              <a:r>
                <a:rPr lang="en-US" sz="1000" dirty="0">
                  <a:latin typeface="+mn-lt"/>
                </a:rPr>
                <a:t>​</a:t>
              </a:r>
            </a:p>
            <a:p>
              <a:pPr fontAlgn="base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GB" sz="1000" dirty="0">
                  <a:latin typeface="+mn-lt"/>
                </a:rPr>
                <a:t> </a:t>
              </a:r>
              <a:r>
                <a:rPr lang="en-US" sz="1000" dirty="0">
                  <a:latin typeface="+mn-lt"/>
                </a:rPr>
                <a:t>​</a:t>
              </a:r>
            </a:p>
            <a:p>
              <a:pPr fontAlgn="base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GB" sz="1000" b="1" i="1" dirty="0">
                  <a:solidFill>
                    <a:schemeClr val="accent1"/>
                  </a:solidFill>
                  <a:latin typeface="+mn-lt"/>
                </a:rPr>
                <a:t>AIMS:</a:t>
              </a:r>
              <a:r>
                <a:rPr lang="en-US" sz="1000" b="1" i="1" dirty="0">
                  <a:solidFill>
                    <a:schemeClr val="accent1"/>
                  </a:solidFill>
                  <a:latin typeface="+mn-lt"/>
                </a:rPr>
                <a:t>​</a:t>
              </a:r>
            </a:p>
            <a:p>
              <a:pPr fontAlgn="base">
                <a:lnSpc>
                  <a:spcPct val="100000"/>
                </a:lnSpc>
                <a:spcBef>
                  <a:spcPts val="0"/>
                </a:spcBef>
              </a:pPr>
              <a:r>
                <a:rPr lang="en-US" sz="1000" dirty="0">
                  <a:latin typeface="+mn-lt"/>
                </a:rPr>
                <a:t>Establish platform access to begin training and implementation</a:t>
              </a:r>
            </a:p>
            <a:p>
              <a:pPr>
                <a:lnSpc>
                  <a:spcPct val="100000"/>
                </a:lnSpc>
                <a:spcBef>
                  <a:spcPts val="0"/>
                </a:spcBef>
                <a:buNone/>
              </a:pPr>
              <a:endParaRPr lang="en-US" sz="1000" dirty="0">
                <a:latin typeface="+mn-lt"/>
                <a:ea typeface="Verdana"/>
              </a:endParaRPr>
            </a:p>
          </p:txBody>
        </p:sp>
        <p:sp>
          <p:nvSpPr>
            <p:cNvPr id="122" name="Pentagon 121">
              <a:extLst>
                <a:ext uri="{FF2B5EF4-FFF2-40B4-BE49-F238E27FC236}">
                  <a16:creationId xmlns:a16="http://schemas.microsoft.com/office/drawing/2014/main" id="{55244B0D-4414-0C4A-B524-D69B4496F1C1}"/>
                </a:ext>
              </a:extLst>
            </p:cNvPr>
            <p:cNvSpPr/>
            <p:nvPr/>
          </p:nvSpPr>
          <p:spPr>
            <a:xfrm>
              <a:off x="257397" y="1001495"/>
              <a:ext cx="3282970" cy="395533"/>
            </a:xfrm>
            <a:prstGeom prst="homePlate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Week 1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3D6A4A15-CDFE-C54C-B502-F1D52599895E}"/>
              </a:ext>
            </a:extLst>
          </p:cNvPr>
          <p:cNvGrpSpPr/>
          <p:nvPr/>
        </p:nvGrpSpPr>
        <p:grpSpPr>
          <a:xfrm>
            <a:off x="3289942" y="991515"/>
            <a:ext cx="2801815" cy="5866485"/>
            <a:chOff x="257396" y="1001495"/>
            <a:chExt cx="3282971" cy="5909050"/>
          </a:xfrm>
        </p:grpSpPr>
        <p:sp>
          <p:nvSpPr>
            <p:cNvPr id="151" name="Content Placeholder 1">
              <a:extLst>
                <a:ext uri="{FF2B5EF4-FFF2-40B4-BE49-F238E27FC236}">
                  <a16:creationId xmlns:a16="http://schemas.microsoft.com/office/drawing/2014/main" id="{741D8973-B54D-EC41-82FD-FEFC94D6062E}"/>
                </a:ext>
              </a:extLst>
            </p:cNvPr>
            <p:cNvSpPr txBox="1">
              <a:spLocks/>
            </p:cNvSpPr>
            <p:nvPr/>
          </p:nvSpPr>
          <p:spPr>
            <a:xfrm>
              <a:off x="257396" y="1192255"/>
              <a:ext cx="3282970" cy="571829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vert="horz" lIns="121920" tIns="60960" rIns="121920" bIns="60960" rtlCol="0" anchor="t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534" indent="0" defTabSz="914317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US" sz="1000" b="1" dirty="0">
                <a:latin typeface="+mn-lt"/>
              </a:endParaRPr>
            </a:p>
            <a:p>
              <a:pPr marL="2534" indent="0" defTabSz="914317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US" sz="1000" b="1" dirty="0">
                <a:solidFill>
                  <a:schemeClr val="accent6"/>
                </a:solidFill>
                <a:latin typeface="+mn-lt"/>
                <a:ea typeface="Verdana"/>
              </a:endParaRPr>
            </a:p>
            <a:p>
              <a:pPr marL="2534" indent="0" defTabSz="914317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accent6"/>
                  </a:solidFill>
                  <a:latin typeface="+mn-lt"/>
                  <a:ea typeface="Verdana"/>
                </a:rPr>
                <a:t>Training Foundation​</a:t>
              </a:r>
            </a:p>
            <a:p>
              <a:pPr marL="231134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  <a:ea typeface="Verdana"/>
                </a:rPr>
                <a:t>Train teams to understand the tools to a Foundation level. 3 days is ideal. ​</a:t>
              </a:r>
            </a:p>
            <a:p>
              <a:pPr marL="231134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  <a:ea typeface="Verdana"/>
                </a:rPr>
                <a:t>Training can include all users of varying technical levels. ​</a:t>
              </a:r>
            </a:p>
            <a:p>
              <a:pPr marL="2534" indent="0" defTabSz="914317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US" sz="1000" dirty="0">
                <a:latin typeface="+mn-lt"/>
                <a:ea typeface="Verdana"/>
              </a:endParaRPr>
            </a:p>
            <a:p>
              <a:pPr marL="2534" indent="0" defTabSz="914317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000" b="1" i="1" dirty="0">
                  <a:solidFill>
                    <a:schemeClr val="accent1"/>
                  </a:solidFill>
                  <a:latin typeface="+mn-lt"/>
                  <a:ea typeface="Verdana"/>
                </a:rPr>
                <a:t>AIMS:​</a:t>
              </a:r>
            </a:p>
            <a:p>
              <a:pPr marL="231134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  <a:ea typeface="Verdana"/>
                </a:rPr>
                <a:t>Ensure all adopters are confident with the platform</a:t>
              </a:r>
            </a:p>
            <a:p>
              <a:pPr marL="231134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  <a:ea typeface="Verdana"/>
                </a:rPr>
                <a:t>Eggplant and the customer project lead identify users who can become technical champions and be involved in advanced training.​</a:t>
              </a:r>
            </a:p>
            <a:p>
              <a:pPr marL="457200" lvl="1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  <a:ea typeface="Verdana"/>
                </a:rPr>
                <a:t>A Technical Champion should be a user who has shown they can pick up the tool quickly. ​</a:t>
              </a:r>
            </a:p>
            <a:p>
              <a:pPr marL="457200" lvl="1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  <a:ea typeface="Verdana"/>
                </a:rPr>
                <a:t>Has an in-depth understand of the project.​</a:t>
              </a:r>
            </a:p>
            <a:p>
              <a:pPr marL="2534" indent="0" defTabSz="914317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US" sz="1000" dirty="0">
                <a:latin typeface="+mn-lt"/>
                <a:ea typeface="Verdana"/>
              </a:endParaRPr>
            </a:p>
            <a:p>
              <a:pPr marL="2534" indent="0" defTabSz="914317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accent6"/>
                  </a:solidFill>
                  <a:latin typeface="+mn-lt"/>
                  <a:ea typeface="Verdana"/>
                </a:rPr>
                <a:t>Training Advanced​</a:t>
              </a:r>
            </a:p>
            <a:p>
              <a:pPr marL="231134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  <a:ea typeface="Verdana"/>
                </a:rPr>
                <a:t>Train Technical Champions to advanced certification. Apply the training in a less formal, more ad-hoc manner – applying tool to their project application. (2-3 days)​</a:t>
              </a:r>
            </a:p>
            <a:p>
              <a:pPr marL="2534" indent="0" defTabSz="914317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US" sz="1000" dirty="0">
                <a:latin typeface="+mn-lt"/>
                <a:ea typeface="Verdana"/>
              </a:endParaRPr>
            </a:p>
            <a:p>
              <a:pPr marL="2534" indent="0" defTabSz="914317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000" b="1" i="1" dirty="0">
                  <a:solidFill>
                    <a:schemeClr val="accent1"/>
                  </a:solidFill>
                  <a:latin typeface="+mn-lt"/>
                  <a:ea typeface="Verdana"/>
                </a:rPr>
                <a:t>AIMS:​</a:t>
              </a:r>
            </a:p>
            <a:p>
              <a:pPr marL="231134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  <a:ea typeface="Verdana"/>
                </a:rPr>
                <a:t>Establish users as Subject Matter Experts: ​</a:t>
              </a:r>
            </a:p>
            <a:p>
              <a:pPr marL="457200" lvl="1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  <a:ea typeface="Verdana"/>
                </a:rPr>
                <a:t>TC to understand the customer use case further. ​</a:t>
              </a:r>
            </a:p>
            <a:p>
              <a:pPr marL="457200" lvl="1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  <a:ea typeface="Verdana"/>
                </a:rPr>
                <a:t>Build rapport and encourage Champions so that they can help develop less technical users.​</a:t>
              </a:r>
            </a:p>
            <a:p>
              <a:pPr marL="457200" lvl="1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  <a:ea typeface="Verdana"/>
                </a:rPr>
                <a:t>Build out initial framework</a:t>
              </a:r>
            </a:p>
            <a:p>
              <a:pPr marL="231134" algn="ctr">
                <a:lnSpc>
                  <a:spcPct val="100000"/>
                </a:lnSpc>
                <a:spcBef>
                  <a:spcPts val="0"/>
                </a:spcBef>
              </a:pPr>
              <a:endParaRPr lang="en-US" sz="1000" dirty="0">
                <a:latin typeface="+mn-lt"/>
                <a:ea typeface="Verdana"/>
              </a:endParaRPr>
            </a:p>
          </p:txBody>
        </p:sp>
        <p:sp>
          <p:nvSpPr>
            <p:cNvPr id="152" name="Pentagon 151">
              <a:extLst>
                <a:ext uri="{FF2B5EF4-FFF2-40B4-BE49-F238E27FC236}">
                  <a16:creationId xmlns:a16="http://schemas.microsoft.com/office/drawing/2014/main" id="{56796BFC-030F-9D40-AFD9-6B59F5BC8AB3}"/>
                </a:ext>
              </a:extLst>
            </p:cNvPr>
            <p:cNvSpPr/>
            <p:nvPr/>
          </p:nvSpPr>
          <p:spPr>
            <a:xfrm>
              <a:off x="257397" y="1001495"/>
              <a:ext cx="3282970" cy="398965"/>
            </a:xfrm>
            <a:prstGeom prst="homePlat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Week 2-3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A448D48E-B951-7943-997C-0AD3AF4AC7D7}"/>
              </a:ext>
            </a:extLst>
          </p:cNvPr>
          <p:cNvGrpSpPr/>
          <p:nvPr/>
        </p:nvGrpSpPr>
        <p:grpSpPr>
          <a:xfrm>
            <a:off x="6288447" y="991802"/>
            <a:ext cx="2801815" cy="5866198"/>
            <a:chOff x="257396" y="1001495"/>
            <a:chExt cx="3282971" cy="5909050"/>
          </a:xfrm>
        </p:grpSpPr>
        <p:sp>
          <p:nvSpPr>
            <p:cNvPr id="154" name="Content Placeholder 1">
              <a:extLst>
                <a:ext uri="{FF2B5EF4-FFF2-40B4-BE49-F238E27FC236}">
                  <a16:creationId xmlns:a16="http://schemas.microsoft.com/office/drawing/2014/main" id="{01C741B9-1B30-AA43-A653-0E18456A1A61}"/>
                </a:ext>
              </a:extLst>
            </p:cNvPr>
            <p:cNvSpPr txBox="1">
              <a:spLocks/>
            </p:cNvSpPr>
            <p:nvPr/>
          </p:nvSpPr>
          <p:spPr>
            <a:xfrm>
              <a:off x="257396" y="1192255"/>
              <a:ext cx="3282970" cy="571829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vert="horz" lIns="121920" tIns="60960" rIns="121920" bIns="60960" rtlCol="0" anchor="t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31134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endParaRPr lang="en-US" sz="1000" dirty="0">
                <a:latin typeface="+mn-lt"/>
              </a:endParaRPr>
            </a:p>
            <a:p>
              <a:pPr marL="2534" indent="0" defTabSz="914317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US" sz="1000" dirty="0">
                <a:latin typeface="+mn-lt"/>
              </a:endParaRPr>
            </a:p>
            <a:p>
              <a:pPr marL="2534" indent="0" defTabSz="914317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accent6"/>
                  </a:solidFill>
                  <a:latin typeface="+mn-lt"/>
                </a:rPr>
                <a:t>ONSITE / OFFSITE Technical Consulting</a:t>
              </a:r>
            </a:p>
            <a:p>
              <a:pPr marL="2534" indent="0" defTabSz="914317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US" sz="1000" dirty="0">
                <a:latin typeface="+mn-lt"/>
              </a:endParaRPr>
            </a:p>
            <a:p>
              <a:pPr marL="2534" indent="0" defTabSz="914317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000" dirty="0">
                  <a:latin typeface="+mn-lt"/>
                </a:rPr>
                <a:t>Achieve the 3-month goals as defined by the engagement plan. </a:t>
              </a:r>
              <a:r>
                <a:rPr lang="en-US" sz="1000" b="1" dirty="0">
                  <a:solidFill>
                    <a:schemeClr val="accent6"/>
                  </a:solidFill>
                  <a:latin typeface="+mn-lt"/>
                </a:rPr>
                <a:t>Work towards the technical champions becoming the Eggplant Experts. ​</a:t>
              </a:r>
            </a:p>
            <a:p>
              <a:pPr marL="2534" indent="0" defTabSz="914317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US" sz="1000" dirty="0">
                <a:latin typeface="+mn-lt"/>
              </a:endParaRPr>
            </a:p>
            <a:p>
              <a:pPr marL="2534" indent="0" defTabSz="914317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000" b="1" i="1" dirty="0">
                  <a:solidFill>
                    <a:schemeClr val="accent1"/>
                  </a:solidFill>
                  <a:latin typeface="+mn-lt"/>
                </a:rPr>
                <a:t>AIMS: ​</a:t>
              </a:r>
            </a:p>
            <a:p>
              <a:pPr marL="231134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</a:rPr>
                <a:t>TC should be actively coding with the customer.​</a:t>
              </a:r>
            </a:p>
            <a:p>
              <a:pPr marL="231134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</a:rPr>
                <a:t>Start with simple scenarios so teams are not isolated. E.g., 5 use cases and one they consider hard. ​</a:t>
              </a:r>
            </a:p>
            <a:p>
              <a:pPr marL="231134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</a:rPr>
                <a:t>Instill best practices.​</a:t>
              </a:r>
            </a:p>
            <a:p>
              <a:pPr marL="231134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</a:rPr>
                <a:t>Review strategic project plans.​</a:t>
              </a:r>
            </a:p>
            <a:p>
              <a:pPr marL="231134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</a:rPr>
                <a:t>Develop self-sufficiency with platform​</a:t>
              </a:r>
            </a:p>
            <a:p>
              <a:pPr marL="231134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</a:rPr>
                <a:t>Ensure confidence of the tool​</a:t>
              </a:r>
            </a:p>
            <a:p>
              <a:pPr marL="231134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</a:rPr>
                <a:t>Code reviews to ensure best practices​</a:t>
              </a:r>
            </a:p>
            <a:p>
              <a:pPr marL="231134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endParaRPr lang="en-US" sz="1000" dirty="0">
                <a:latin typeface="+mn-lt"/>
              </a:endParaRPr>
            </a:p>
            <a:p>
              <a:pPr marL="2534" indent="0" defTabSz="914317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accent6"/>
                  </a:solidFill>
                  <a:latin typeface="+mn-lt"/>
                </a:rPr>
                <a:t>Project Governance​</a:t>
              </a:r>
            </a:p>
            <a:p>
              <a:pPr marL="2534" indent="0" defTabSz="914317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US" sz="1000" b="1" dirty="0">
                <a:solidFill>
                  <a:schemeClr val="accent6"/>
                </a:solidFill>
                <a:latin typeface="+mn-lt"/>
              </a:endParaRPr>
            </a:p>
            <a:p>
              <a:pPr marL="2534" indent="0" defTabSz="914317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000" b="1" i="1" dirty="0">
                  <a:solidFill>
                    <a:schemeClr val="accent1"/>
                  </a:solidFill>
                  <a:latin typeface="+mn-lt"/>
                </a:rPr>
                <a:t>AIMS:​</a:t>
              </a:r>
            </a:p>
            <a:p>
              <a:pPr marL="231134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</a:rPr>
                <a:t>Customer Success Manager leads Weekly/Biweekly program reviews.​</a:t>
              </a:r>
            </a:p>
            <a:p>
              <a:pPr marL="231134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</a:rPr>
                <a:t>TC reports to CS on project task status. ​</a:t>
              </a:r>
            </a:p>
            <a:p>
              <a:pPr marL="231134" defTabSz="914317">
                <a:lnSpc>
                  <a:spcPct val="100000"/>
                </a:lnSpc>
                <a:spcBef>
                  <a:spcPts val="0"/>
                </a:spcBef>
                <a:buFont typeface="Arial" charset="0"/>
                <a:buChar char="•"/>
              </a:pPr>
              <a:r>
                <a:rPr lang="en-US" sz="1000" dirty="0">
                  <a:latin typeface="+mn-lt"/>
                </a:rPr>
                <a:t>Proactively  address changes and issues.</a:t>
              </a:r>
              <a:endParaRPr lang="en-US" sz="1000" dirty="0">
                <a:latin typeface="+mn-lt"/>
                <a:ea typeface="Verdana"/>
              </a:endParaRPr>
            </a:p>
          </p:txBody>
        </p:sp>
        <p:sp>
          <p:nvSpPr>
            <p:cNvPr id="155" name="Pentagon 154">
              <a:extLst>
                <a:ext uri="{FF2B5EF4-FFF2-40B4-BE49-F238E27FC236}">
                  <a16:creationId xmlns:a16="http://schemas.microsoft.com/office/drawing/2014/main" id="{EEC7AC5A-817D-8442-8420-807681505A09}"/>
                </a:ext>
              </a:extLst>
            </p:cNvPr>
            <p:cNvSpPr/>
            <p:nvPr/>
          </p:nvSpPr>
          <p:spPr>
            <a:xfrm>
              <a:off x="257397" y="1001495"/>
              <a:ext cx="3282970" cy="395534"/>
            </a:xfrm>
            <a:prstGeom prst="homePlat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Week 3-16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FA449E6F-8F7F-B34E-A090-C82FE9F00921}"/>
              </a:ext>
            </a:extLst>
          </p:cNvPr>
          <p:cNvGrpSpPr/>
          <p:nvPr/>
        </p:nvGrpSpPr>
        <p:grpSpPr>
          <a:xfrm>
            <a:off x="9286951" y="991515"/>
            <a:ext cx="2801815" cy="5866485"/>
            <a:chOff x="257396" y="1001495"/>
            <a:chExt cx="3282971" cy="5909049"/>
          </a:xfrm>
        </p:grpSpPr>
        <p:sp>
          <p:nvSpPr>
            <p:cNvPr id="157" name="Content Placeholder 1">
              <a:extLst>
                <a:ext uri="{FF2B5EF4-FFF2-40B4-BE49-F238E27FC236}">
                  <a16:creationId xmlns:a16="http://schemas.microsoft.com/office/drawing/2014/main" id="{24F87E4B-5A87-8D4A-95B4-E3C2C4855160}"/>
                </a:ext>
              </a:extLst>
            </p:cNvPr>
            <p:cNvSpPr txBox="1">
              <a:spLocks/>
            </p:cNvSpPr>
            <p:nvPr/>
          </p:nvSpPr>
          <p:spPr>
            <a:xfrm>
              <a:off x="257396" y="1192255"/>
              <a:ext cx="3282970" cy="571828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txBody>
            <a:bodyPr vert="horz" lIns="121920" tIns="60960" rIns="121920" bIns="60960" rtlCol="0" anchor="t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b="0" i="0" kern="1200">
                  <a:solidFill>
                    <a:schemeClr val="tx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534" indent="0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US" sz="1000" dirty="0">
                <a:latin typeface="+mn-lt"/>
                <a:ea typeface="Verdana"/>
              </a:endParaRPr>
            </a:p>
            <a:p>
              <a:pPr marL="2534" indent="0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US" sz="1000" b="1" dirty="0">
                <a:solidFill>
                  <a:schemeClr val="accent6"/>
                </a:solidFill>
                <a:latin typeface="+mn-lt"/>
                <a:ea typeface="Verdana"/>
              </a:endParaRPr>
            </a:p>
            <a:p>
              <a:pPr marL="2534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000" b="1" dirty="0">
                  <a:solidFill>
                    <a:schemeClr val="accent6"/>
                  </a:solidFill>
                  <a:latin typeface="+mn-lt"/>
                  <a:ea typeface="Verdana"/>
                </a:rPr>
                <a:t>Ongoing Support​</a:t>
              </a:r>
            </a:p>
            <a:p>
              <a:pPr marL="2534" indent="0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US" sz="1000" dirty="0">
                <a:latin typeface="+mn-lt"/>
                <a:ea typeface="Verdana"/>
              </a:endParaRPr>
            </a:p>
            <a:p>
              <a:pPr marL="2534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000" b="1" i="1" dirty="0">
                  <a:solidFill>
                    <a:schemeClr val="accent1"/>
                  </a:solidFill>
                  <a:latin typeface="+mn-lt"/>
                  <a:ea typeface="Verdana"/>
                </a:rPr>
                <a:t>AIMS:​</a:t>
              </a:r>
            </a:p>
            <a:p>
              <a:pPr marL="231134">
                <a:lnSpc>
                  <a:spcPct val="100000"/>
                </a:lnSpc>
                <a:spcBef>
                  <a:spcPts val="0"/>
                </a:spcBef>
              </a:pPr>
              <a:r>
                <a:rPr lang="en-US" sz="1000" dirty="0">
                  <a:latin typeface="+mn-lt"/>
                  <a:ea typeface="Verdana"/>
                </a:rPr>
                <a:t>Eggplant Customer Success maintains ongoing relationship and support for duration of the partnership​</a:t>
              </a:r>
            </a:p>
            <a:p>
              <a:pPr marL="231134">
                <a:lnSpc>
                  <a:spcPct val="100000"/>
                </a:lnSpc>
                <a:spcBef>
                  <a:spcPts val="0"/>
                </a:spcBef>
              </a:pPr>
              <a:r>
                <a:rPr lang="en-US" sz="1000" dirty="0">
                  <a:latin typeface="+mn-lt"/>
                  <a:ea typeface="Verdana"/>
                </a:rPr>
                <a:t>Ongoing review of engagement plan​</a:t>
              </a:r>
            </a:p>
            <a:p>
              <a:pPr marL="231134">
                <a:lnSpc>
                  <a:spcPct val="100000"/>
                </a:lnSpc>
                <a:spcBef>
                  <a:spcPts val="0"/>
                </a:spcBef>
              </a:pPr>
              <a:r>
                <a:rPr lang="en-US" sz="1000" dirty="0">
                  <a:latin typeface="+mn-lt"/>
                  <a:ea typeface="Verdana"/>
                </a:rPr>
                <a:t>Update for the next 3-month goals ​</a:t>
              </a:r>
            </a:p>
            <a:p>
              <a:pPr marL="231134">
                <a:lnSpc>
                  <a:spcPct val="100000"/>
                </a:lnSpc>
                <a:spcBef>
                  <a:spcPts val="0"/>
                </a:spcBef>
              </a:pPr>
              <a:r>
                <a:rPr lang="en-US" sz="1000" dirty="0">
                  <a:latin typeface="+mn-lt"/>
                  <a:ea typeface="Verdana"/>
                </a:rPr>
                <a:t>Ensure teams are self-sufficient and have adopted best practices. ​</a:t>
              </a:r>
            </a:p>
            <a:p>
              <a:pPr marL="231134">
                <a:lnSpc>
                  <a:spcPct val="100000"/>
                </a:lnSpc>
                <a:spcBef>
                  <a:spcPts val="0"/>
                </a:spcBef>
              </a:pPr>
              <a:r>
                <a:rPr lang="en-US" sz="1000" dirty="0">
                  <a:latin typeface="+mn-lt"/>
                  <a:ea typeface="Verdana"/>
                </a:rPr>
                <a:t>Regular (biweekly/monthly) check in / forums to help/address issues/advise with the automation engineers. ​</a:t>
              </a:r>
            </a:p>
            <a:p>
              <a:pPr marL="231134">
                <a:lnSpc>
                  <a:spcPct val="100000"/>
                </a:lnSpc>
                <a:spcBef>
                  <a:spcPts val="0"/>
                </a:spcBef>
              </a:pPr>
              <a:r>
                <a:rPr lang="en-US" sz="1000" dirty="0">
                  <a:latin typeface="+mn-lt"/>
                  <a:ea typeface="Verdana"/>
                </a:rPr>
                <a:t>Monthly / Bimonthly Leadership Review to validate project success and ongoing development.</a:t>
              </a:r>
            </a:p>
          </p:txBody>
        </p:sp>
        <p:sp>
          <p:nvSpPr>
            <p:cNvPr id="158" name="Pentagon 157">
              <a:extLst>
                <a:ext uri="{FF2B5EF4-FFF2-40B4-BE49-F238E27FC236}">
                  <a16:creationId xmlns:a16="http://schemas.microsoft.com/office/drawing/2014/main" id="{791B5829-AFF9-4B4D-9834-DF15F47969A6}"/>
                </a:ext>
              </a:extLst>
            </p:cNvPr>
            <p:cNvSpPr/>
            <p:nvPr/>
          </p:nvSpPr>
          <p:spPr>
            <a:xfrm>
              <a:off x="257397" y="1001495"/>
              <a:ext cx="3282970" cy="395534"/>
            </a:xfrm>
            <a:prstGeom prst="homePlat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Post Successful </a:t>
              </a:r>
            </a:p>
            <a:p>
              <a:pPr algn="ctr"/>
              <a:r>
                <a:rPr lang="en-US" sz="1400" b="1" dirty="0">
                  <a:solidFill>
                    <a:schemeClr val="bg1"/>
                  </a:solidFill>
                </a:rPr>
                <a:t>3-month adoption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9951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F4D5D8D5-D908-4B33-8935-0B86B0C36E4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9201" y="3352676"/>
            <a:ext cx="11292840" cy="2940733"/>
          </a:xfrm>
        </p:spPr>
        <p:txBody>
          <a:bodyPr/>
          <a:lstStyle/>
          <a:p>
            <a:r>
              <a:rPr lang="en-US" sz="1600" dirty="0"/>
              <a:t>For use at any time through your Automation life cycle</a:t>
            </a:r>
          </a:p>
          <a:p>
            <a:r>
              <a:rPr lang="en-US" sz="1600" dirty="0"/>
              <a:t>Health checks in the form of annual or quarterly reviews against current best practice and KPI’s</a:t>
            </a:r>
          </a:p>
          <a:p>
            <a:r>
              <a:rPr lang="en-US" sz="1600" dirty="0"/>
              <a:t>Jointly crafted continuous improvement program</a:t>
            </a:r>
          </a:p>
          <a:p>
            <a:r>
              <a:rPr lang="en-US" sz="1600" dirty="0"/>
              <a:t>Test script and code review</a:t>
            </a:r>
          </a:p>
          <a:p>
            <a:r>
              <a:rPr lang="en-US" sz="1600" dirty="0"/>
              <a:t>Integration of monitoring services into service management and APM software</a:t>
            </a:r>
          </a:p>
          <a:p>
            <a:r>
              <a:rPr lang="en-US" sz="1600" dirty="0"/>
              <a:t>Combining data sets to implement timely state-of-the-business dashboards</a:t>
            </a:r>
          </a:p>
          <a:p>
            <a:r>
              <a:rPr lang="en-US" sz="1600" dirty="0"/>
              <a:t>Guided implementing  of Customer Experience checkpoints into the build chain  </a:t>
            </a:r>
          </a:p>
          <a:p>
            <a:r>
              <a:rPr lang="en-US" sz="1600" dirty="0"/>
              <a:t>Digital Transformation best practice and support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DE28A4D-B796-49F6-AA61-83D619268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AS On-Deman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E22D24-338B-4AE6-83EF-27BC7608857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Subtitle (Delete if not used)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8CF9DAD-F0B5-4EC3-A10D-7B113F939D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Optional Title of the Presentation</a:t>
            </a:r>
          </a:p>
        </p:txBody>
      </p:sp>
      <p:grpSp>
        <p:nvGrpSpPr>
          <p:cNvPr id="6" name="Graphic 36">
            <a:extLst>
              <a:ext uri="{FF2B5EF4-FFF2-40B4-BE49-F238E27FC236}">
                <a16:creationId xmlns:a16="http://schemas.microsoft.com/office/drawing/2014/main" id="{3E35DA7D-4139-5648-99F7-BA2B78869AB3}"/>
              </a:ext>
            </a:extLst>
          </p:cNvPr>
          <p:cNvGrpSpPr>
            <a:grpSpLocks noChangeAspect="1"/>
          </p:cNvGrpSpPr>
          <p:nvPr/>
        </p:nvGrpSpPr>
        <p:grpSpPr>
          <a:xfrm>
            <a:off x="449201" y="1370282"/>
            <a:ext cx="1371600" cy="1371600"/>
            <a:chOff x="6019800" y="4114800"/>
            <a:chExt cx="1714500" cy="1714500"/>
          </a:xfrm>
        </p:grpSpPr>
        <p:sp>
          <p:nvSpPr>
            <p:cNvPr id="7" name="Freeform: Shape 570">
              <a:extLst>
                <a:ext uri="{FF2B5EF4-FFF2-40B4-BE49-F238E27FC236}">
                  <a16:creationId xmlns:a16="http://schemas.microsoft.com/office/drawing/2014/main" id="{8E73826C-39D0-604A-95E0-02AD5BBB54DD}"/>
                </a:ext>
              </a:extLst>
            </p:cNvPr>
            <p:cNvSpPr/>
            <p:nvPr/>
          </p:nvSpPr>
          <p:spPr>
            <a:xfrm>
              <a:off x="6217253" y="4354830"/>
              <a:ext cx="1266825" cy="1266825"/>
            </a:xfrm>
            <a:custGeom>
              <a:avLst/>
              <a:gdLst>
                <a:gd name="connsiteX0" fmla="*/ 636842 w 1266825"/>
                <a:gd name="connsiteY0" fmla="*/ 1266539 h 1266825"/>
                <a:gd name="connsiteX1" fmla="*/ 7144 w 1266825"/>
                <a:gd name="connsiteY1" fmla="*/ 636842 h 1266825"/>
                <a:gd name="connsiteX2" fmla="*/ 636842 w 1266825"/>
                <a:gd name="connsiteY2" fmla="*/ 7144 h 1266825"/>
                <a:gd name="connsiteX3" fmla="*/ 1266539 w 1266825"/>
                <a:gd name="connsiteY3" fmla="*/ 636842 h 1266825"/>
                <a:gd name="connsiteX4" fmla="*/ 636842 w 1266825"/>
                <a:gd name="connsiteY4" fmla="*/ 1266539 h 1266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6825" h="1266825">
                  <a:moveTo>
                    <a:pt x="636842" y="1266539"/>
                  </a:moveTo>
                  <a:cubicBezTo>
                    <a:pt x="289069" y="1266539"/>
                    <a:pt x="7144" y="984614"/>
                    <a:pt x="7144" y="636842"/>
                  </a:cubicBezTo>
                  <a:cubicBezTo>
                    <a:pt x="7144" y="289069"/>
                    <a:pt x="289069" y="7144"/>
                    <a:pt x="636842" y="7144"/>
                  </a:cubicBezTo>
                  <a:cubicBezTo>
                    <a:pt x="984614" y="7144"/>
                    <a:pt x="1266539" y="289069"/>
                    <a:pt x="1266539" y="636842"/>
                  </a:cubicBezTo>
                  <a:cubicBezTo>
                    <a:pt x="1266119" y="984440"/>
                    <a:pt x="984440" y="1266119"/>
                    <a:pt x="636842" y="126653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571">
              <a:extLst>
                <a:ext uri="{FF2B5EF4-FFF2-40B4-BE49-F238E27FC236}">
                  <a16:creationId xmlns:a16="http://schemas.microsoft.com/office/drawing/2014/main" id="{4521986C-A21F-9441-A805-4174B509EC37}"/>
                </a:ext>
              </a:extLst>
            </p:cNvPr>
            <p:cNvSpPr/>
            <p:nvPr/>
          </p:nvSpPr>
          <p:spPr>
            <a:xfrm>
              <a:off x="6536331" y="4654801"/>
              <a:ext cx="619125" cy="742950"/>
            </a:xfrm>
            <a:custGeom>
              <a:avLst/>
              <a:gdLst>
                <a:gd name="connsiteX0" fmla="*/ 176317 w 619125"/>
                <a:gd name="connsiteY0" fmla="*/ 401641 h 742950"/>
                <a:gd name="connsiteX1" fmla="*/ 176317 w 619125"/>
                <a:gd name="connsiteY1" fmla="*/ 72838 h 742950"/>
                <a:gd name="connsiteX2" fmla="*/ 195367 w 619125"/>
                <a:gd name="connsiteY2" fmla="*/ 25213 h 742950"/>
                <a:gd name="connsiteX3" fmla="*/ 251374 w 619125"/>
                <a:gd name="connsiteY3" fmla="*/ 8068 h 742950"/>
                <a:gd name="connsiteX4" fmla="*/ 295951 w 619125"/>
                <a:gd name="connsiteY4" fmla="*/ 35595 h 742950"/>
                <a:gd name="connsiteX5" fmla="*/ 306715 w 619125"/>
                <a:gd name="connsiteY5" fmla="*/ 70742 h 742950"/>
                <a:gd name="connsiteX6" fmla="*/ 306715 w 619125"/>
                <a:gd name="connsiteY6" fmla="*/ 185709 h 742950"/>
                <a:gd name="connsiteX7" fmla="*/ 399393 w 619125"/>
                <a:gd name="connsiteY7" fmla="*/ 202949 h 742950"/>
                <a:gd name="connsiteX8" fmla="*/ 408918 w 619125"/>
                <a:gd name="connsiteY8" fmla="*/ 222952 h 742950"/>
                <a:gd name="connsiteX9" fmla="*/ 471878 w 619125"/>
                <a:gd name="connsiteY9" fmla="*/ 212474 h 742950"/>
                <a:gd name="connsiteX10" fmla="*/ 513598 w 619125"/>
                <a:gd name="connsiteY10" fmla="*/ 260099 h 742950"/>
                <a:gd name="connsiteX11" fmla="*/ 595608 w 619125"/>
                <a:gd name="connsiteY11" fmla="*/ 262004 h 742950"/>
                <a:gd name="connsiteX12" fmla="*/ 618087 w 619125"/>
                <a:gd name="connsiteY12" fmla="*/ 310486 h 742950"/>
                <a:gd name="connsiteX13" fmla="*/ 618087 w 619125"/>
                <a:gd name="connsiteY13" fmla="*/ 505273 h 742950"/>
                <a:gd name="connsiteX14" fmla="*/ 608562 w 619125"/>
                <a:gd name="connsiteY14" fmla="*/ 574043 h 742950"/>
                <a:gd name="connsiteX15" fmla="*/ 579987 w 619125"/>
                <a:gd name="connsiteY15" fmla="*/ 656435 h 742950"/>
                <a:gd name="connsiteX16" fmla="*/ 539030 w 619125"/>
                <a:gd name="connsiteY16" fmla="*/ 723110 h 742950"/>
                <a:gd name="connsiteX17" fmla="*/ 496738 w 619125"/>
                <a:gd name="connsiteY17" fmla="*/ 742160 h 742950"/>
                <a:gd name="connsiteX18" fmla="*/ 339862 w 619125"/>
                <a:gd name="connsiteY18" fmla="*/ 742160 h 742950"/>
                <a:gd name="connsiteX19" fmla="*/ 297475 w 619125"/>
                <a:gd name="connsiteY19" fmla="*/ 742160 h 742950"/>
                <a:gd name="connsiteX20" fmla="*/ 252136 w 619125"/>
                <a:gd name="connsiteY20" fmla="*/ 722443 h 742950"/>
                <a:gd name="connsiteX21" fmla="*/ 210703 w 619125"/>
                <a:gd name="connsiteY21" fmla="*/ 656625 h 742950"/>
                <a:gd name="connsiteX22" fmla="*/ 184319 w 619125"/>
                <a:gd name="connsiteY22" fmla="*/ 601856 h 742950"/>
                <a:gd name="connsiteX23" fmla="*/ 154410 w 619125"/>
                <a:gd name="connsiteY23" fmla="*/ 563185 h 742950"/>
                <a:gd name="connsiteX24" fmla="*/ 112595 w 619125"/>
                <a:gd name="connsiteY24" fmla="*/ 523847 h 742950"/>
                <a:gd name="connsiteX25" fmla="*/ 38681 w 619125"/>
                <a:gd name="connsiteY25" fmla="*/ 479174 h 742950"/>
                <a:gd name="connsiteX26" fmla="*/ 7344 w 619125"/>
                <a:gd name="connsiteY26" fmla="*/ 435550 h 742950"/>
                <a:gd name="connsiteX27" fmla="*/ 26394 w 619125"/>
                <a:gd name="connsiteY27" fmla="*/ 395926 h 742950"/>
                <a:gd name="connsiteX28" fmla="*/ 72971 w 619125"/>
                <a:gd name="connsiteY28" fmla="*/ 379828 h 742950"/>
                <a:gd name="connsiteX29" fmla="*/ 150219 w 619125"/>
                <a:gd name="connsiteY29" fmla="*/ 390782 h 742950"/>
                <a:gd name="connsiteX30" fmla="*/ 176317 w 619125"/>
                <a:gd name="connsiteY30" fmla="*/ 401641 h 742950"/>
                <a:gd name="connsiteX31" fmla="*/ 202702 w 619125"/>
                <a:gd name="connsiteY31" fmla="*/ 248003 h 742950"/>
                <a:gd name="connsiteX32" fmla="*/ 202702 w 619125"/>
                <a:gd name="connsiteY32" fmla="*/ 248003 h 742950"/>
                <a:gd name="connsiteX33" fmla="*/ 202702 w 619125"/>
                <a:gd name="connsiteY33" fmla="*/ 427072 h 742950"/>
                <a:gd name="connsiteX34" fmla="*/ 198416 w 619125"/>
                <a:gd name="connsiteY34" fmla="*/ 438883 h 742950"/>
                <a:gd name="connsiteX35" fmla="*/ 177937 w 619125"/>
                <a:gd name="connsiteY35" fmla="*/ 437550 h 742950"/>
                <a:gd name="connsiteX36" fmla="*/ 161649 w 619125"/>
                <a:gd name="connsiteY36" fmla="*/ 424786 h 742950"/>
                <a:gd name="connsiteX37" fmla="*/ 118787 w 619125"/>
                <a:gd name="connsiteY37" fmla="*/ 409261 h 742950"/>
                <a:gd name="connsiteX38" fmla="*/ 61637 w 619125"/>
                <a:gd name="connsiteY38" fmla="*/ 408404 h 742950"/>
                <a:gd name="connsiteX39" fmla="*/ 43253 w 619125"/>
                <a:gd name="connsiteY39" fmla="*/ 416405 h 742950"/>
                <a:gd name="connsiteX40" fmla="*/ 36103 w 619125"/>
                <a:gd name="connsiteY40" fmla="*/ 443634 h 742950"/>
                <a:gd name="connsiteX41" fmla="*/ 36110 w 619125"/>
                <a:gd name="connsiteY41" fmla="*/ 443646 h 742950"/>
                <a:gd name="connsiteX42" fmla="*/ 43825 w 619125"/>
                <a:gd name="connsiteY42" fmla="*/ 451076 h 742950"/>
                <a:gd name="connsiteX43" fmla="*/ 70495 w 619125"/>
                <a:gd name="connsiteY43" fmla="*/ 465363 h 742950"/>
                <a:gd name="connsiteX44" fmla="*/ 136027 w 619125"/>
                <a:gd name="connsiteY44" fmla="*/ 508702 h 742950"/>
                <a:gd name="connsiteX45" fmla="*/ 195939 w 619125"/>
                <a:gd name="connsiteY45" fmla="*/ 572519 h 742950"/>
                <a:gd name="connsiteX46" fmla="*/ 218037 w 619125"/>
                <a:gd name="connsiteY46" fmla="*/ 606333 h 742950"/>
                <a:gd name="connsiteX47" fmla="*/ 237658 w 619125"/>
                <a:gd name="connsiteY47" fmla="*/ 651101 h 742950"/>
                <a:gd name="connsiteX48" fmla="*/ 271472 w 619125"/>
                <a:gd name="connsiteY48" fmla="*/ 704536 h 742950"/>
                <a:gd name="connsiteX49" fmla="*/ 297380 w 619125"/>
                <a:gd name="connsiteY49" fmla="*/ 715966 h 742950"/>
                <a:gd name="connsiteX50" fmla="*/ 496167 w 619125"/>
                <a:gd name="connsiteY50" fmla="*/ 715966 h 742950"/>
                <a:gd name="connsiteX51" fmla="*/ 520837 w 619125"/>
                <a:gd name="connsiteY51" fmla="*/ 704726 h 742950"/>
                <a:gd name="connsiteX52" fmla="*/ 554079 w 619125"/>
                <a:gd name="connsiteY52" fmla="*/ 650624 h 742950"/>
                <a:gd name="connsiteX53" fmla="*/ 582654 w 619125"/>
                <a:gd name="connsiteY53" fmla="*/ 570900 h 742950"/>
                <a:gd name="connsiteX54" fmla="*/ 592750 w 619125"/>
                <a:gd name="connsiteY54" fmla="*/ 504225 h 742950"/>
                <a:gd name="connsiteX55" fmla="*/ 592751 w 619125"/>
                <a:gd name="connsiteY55" fmla="*/ 311153 h 742950"/>
                <a:gd name="connsiteX56" fmla="*/ 586655 w 619125"/>
                <a:gd name="connsiteY56" fmla="*/ 290293 h 742950"/>
                <a:gd name="connsiteX57" fmla="*/ 543221 w 619125"/>
                <a:gd name="connsiteY57" fmla="*/ 275720 h 742950"/>
                <a:gd name="connsiteX58" fmla="*/ 516836 w 619125"/>
                <a:gd name="connsiteY58" fmla="*/ 312677 h 742950"/>
                <a:gd name="connsiteX59" fmla="*/ 516836 w 619125"/>
                <a:gd name="connsiteY59" fmla="*/ 386020 h 742950"/>
                <a:gd name="connsiteX60" fmla="*/ 509502 w 619125"/>
                <a:gd name="connsiteY60" fmla="*/ 399164 h 742950"/>
                <a:gd name="connsiteX61" fmla="*/ 490452 w 619125"/>
                <a:gd name="connsiteY61" fmla="*/ 394116 h 742950"/>
                <a:gd name="connsiteX62" fmla="*/ 488642 w 619125"/>
                <a:gd name="connsiteY62" fmla="*/ 385448 h 742950"/>
                <a:gd name="connsiteX63" fmla="*/ 488642 w 619125"/>
                <a:gd name="connsiteY63" fmla="*/ 275149 h 742950"/>
                <a:gd name="connsiteX64" fmla="*/ 486737 w 619125"/>
                <a:gd name="connsiteY64" fmla="*/ 259242 h 742950"/>
                <a:gd name="connsiteX65" fmla="*/ 440732 w 619125"/>
                <a:gd name="connsiteY65" fmla="*/ 236858 h 742950"/>
                <a:gd name="connsiteX66" fmla="*/ 413204 w 619125"/>
                <a:gd name="connsiteY66" fmla="*/ 274196 h 742950"/>
                <a:gd name="connsiteX67" fmla="*/ 413204 w 619125"/>
                <a:gd name="connsiteY67" fmla="*/ 386496 h 742950"/>
                <a:gd name="connsiteX68" fmla="*/ 404536 w 619125"/>
                <a:gd name="connsiteY68" fmla="*/ 399545 h 742950"/>
                <a:gd name="connsiteX69" fmla="*/ 385778 w 619125"/>
                <a:gd name="connsiteY69" fmla="*/ 394104 h 742950"/>
                <a:gd name="connsiteX70" fmla="*/ 385486 w 619125"/>
                <a:gd name="connsiteY70" fmla="*/ 393545 h 742950"/>
                <a:gd name="connsiteX71" fmla="*/ 384058 w 619125"/>
                <a:gd name="connsiteY71" fmla="*/ 385448 h 742950"/>
                <a:gd name="connsiteX72" fmla="*/ 384058 w 619125"/>
                <a:gd name="connsiteY72" fmla="*/ 239239 h 742950"/>
                <a:gd name="connsiteX73" fmla="*/ 346672 w 619125"/>
                <a:gd name="connsiteY73" fmla="*/ 200425 h 742950"/>
                <a:gd name="connsiteX74" fmla="*/ 307858 w 619125"/>
                <a:gd name="connsiteY74" fmla="*/ 237811 h 742950"/>
                <a:gd name="connsiteX75" fmla="*/ 307858 w 619125"/>
                <a:gd name="connsiteY75" fmla="*/ 294008 h 742950"/>
                <a:gd name="connsiteX76" fmla="*/ 307858 w 619125"/>
                <a:gd name="connsiteY76" fmla="*/ 384972 h 742950"/>
                <a:gd name="connsiteX77" fmla="*/ 295062 w 619125"/>
                <a:gd name="connsiteY77" fmla="*/ 399729 h 742950"/>
                <a:gd name="connsiteX78" fmla="*/ 280426 w 619125"/>
                <a:gd name="connsiteY78" fmla="*/ 388020 h 742950"/>
                <a:gd name="connsiteX79" fmla="*/ 280426 w 619125"/>
                <a:gd name="connsiteY79" fmla="*/ 385924 h 742950"/>
                <a:gd name="connsiteX80" fmla="*/ 280426 w 619125"/>
                <a:gd name="connsiteY80" fmla="*/ 72742 h 742950"/>
                <a:gd name="connsiteX81" fmla="*/ 250994 w 619125"/>
                <a:gd name="connsiteY81" fmla="*/ 35119 h 742950"/>
                <a:gd name="connsiteX82" fmla="*/ 203476 w 619125"/>
                <a:gd name="connsiteY82" fmla="*/ 63265 h 742950"/>
                <a:gd name="connsiteX83" fmla="*/ 203369 w 619125"/>
                <a:gd name="connsiteY83" fmla="*/ 63694 h 742950"/>
                <a:gd name="connsiteX84" fmla="*/ 202225 w 619125"/>
                <a:gd name="connsiteY84" fmla="*/ 72647 h 742950"/>
                <a:gd name="connsiteX85" fmla="*/ 202702 w 619125"/>
                <a:gd name="connsiteY85" fmla="*/ 248003 h 742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619125" h="742950">
                  <a:moveTo>
                    <a:pt x="176317" y="401641"/>
                  </a:moveTo>
                  <a:lnTo>
                    <a:pt x="176317" y="72838"/>
                  </a:lnTo>
                  <a:cubicBezTo>
                    <a:pt x="175355" y="54934"/>
                    <a:pt x="182323" y="37514"/>
                    <a:pt x="195367" y="25213"/>
                  </a:cubicBezTo>
                  <a:cubicBezTo>
                    <a:pt x="210278" y="10968"/>
                    <a:pt x="231045" y="4611"/>
                    <a:pt x="251374" y="8068"/>
                  </a:cubicBezTo>
                  <a:cubicBezTo>
                    <a:pt x="269518" y="10356"/>
                    <a:pt x="285779" y="20398"/>
                    <a:pt x="295951" y="35595"/>
                  </a:cubicBezTo>
                  <a:cubicBezTo>
                    <a:pt x="303163" y="45879"/>
                    <a:pt x="306931" y="58183"/>
                    <a:pt x="306715" y="70742"/>
                  </a:cubicBezTo>
                  <a:lnTo>
                    <a:pt x="306715" y="185709"/>
                  </a:lnTo>
                  <a:cubicBezTo>
                    <a:pt x="337070" y="164888"/>
                    <a:pt x="378556" y="172605"/>
                    <a:pt x="399393" y="202949"/>
                  </a:cubicBezTo>
                  <a:cubicBezTo>
                    <a:pt x="403651" y="209045"/>
                    <a:pt x="406869" y="215804"/>
                    <a:pt x="408918" y="222952"/>
                  </a:cubicBezTo>
                  <a:cubicBezTo>
                    <a:pt x="426679" y="208802"/>
                    <a:pt x="450492" y="204839"/>
                    <a:pt x="471878" y="212474"/>
                  </a:cubicBezTo>
                  <a:cubicBezTo>
                    <a:pt x="493488" y="219464"/>
                    <a:pt x="509513" y="237757"/>
                    <a:pt x="513598" y="260099"/>
                  </a:cubicBezTo>
                  <a:cubicBezTo>
                    <a:pt x="538137" y="241853"/>
                    <a:pt x="571943" y="242638"/>
                    <a:pt x="595608" y="262004"/>
                  </a:cubicBezTo>
                  <a:cubicBezTo>
                    <a:pt x="610269" y="273762"/>
                    <a:pt x="618586" y="291700"/>
                    <a:pt x="618087" y="310486"/>
                  </a:cubicBezTo>
                  <a:lnTo>
                    <a:pt x="618087" y="505273"/>
                  </a:lnTo>
                  <a:cubicBezTo>
                    <a:pt x="617827" y="528506"/>
                    <a:pt x="614627" y="551614"/>
                    <a:pt x="608562" y="574043"/>
                  </a:cubicBezTo>
                  <a:cubicBezTo>
                    <a:pt x="601387" y="602266"/>
                    <a:pt x="591827" y="629829"/>
                    <a:pt x="579987" y="656435"/>
                  </a:cubicBezTo>
                  <a:cubicBezTo>
                    <a:pt x="570241" y="680835"/>
                    <a:pt x="556388" y="703386"/>
                    <a:pt x="539030" y="723110"/>
                  </a:cubicBezTo>
                  <a:cubicBezTo>
                    <a:pt x="528371" y="735304"/>
                    <a:pt x="512934" y="742257"/>
                    <a:pt x="496738" y="742160"/>
                  </a:cubicBezTo>
                  <a:cubicBezTo>
                    <a:pt x="444446" y="741397"/>
                    <a:pt x="391963" y="742160"/>
                    <a:pt x="339862" y="742160"/>
                  </a:cubicBezTo>
                  <a:lnTo>
                    <a:pt x="297475" y="742160"/>
                  </a:lnTo>
                  <a:cubicBezTo>
                    <a:pt x="280186" y="742639"/>
                    <a:pt x="263576" y="735416"/>
                    <a:pt x="252136" y="722443"/>
                  </a:cubicBezTo>
                  <a:cubicBezTo>
                    <a:pt x="234606" y="703077"/>
                    <a:pt x="220585" y="680805"/>
                    <a:pt x="210703" y="656625"/>
                  </a:cubicBezTo>
                  <a:cubicBezTo>
                    <a:pt x="202130" y="638242"/>
                    <a:pt x="196796" y="618525"/>
                    <a:pt x="184319" y="601856"/>
                  </a:cubicBezTo>
                  <a:cubicBezTo>
                    <a:pt x="174794" y="588807"/>
                    <a:pt x="164602" y="575948"/>
                    <a:pt x="154410" y="563185"/>
                  </a:cubicBezTo>
                  <a:cubicBezTo>
                    <a:pt x="142044" y="548495"/>
                    <a:pt x="128011" y="535294"/>
                    <a:pt x="112595" y="523847"/>
                  </a:cubicBezTo>
                  <a:cubicBezTo>
                    <a:pt x="89695" y="506254"/>
                    <a:pt x="64904" y="491270"/>
                    <a:pt x="38681" y="479174"/>
                  </a:cubicBezTo>
                  <a:cubicBezTo>
                    <a:pt x="20898" y="471640"/>
                    <a:pt x="8807" y="454808"/>
                    <a:pt x="7344" y="435550"/>
                  </a:cubicBezTo>
                  <a:cubicBezTo>
                    <a:pt x="5812" y="419823"/>
                    <a:pt x="13155" y="404551"/>
                    <a:pt x="26394" y="395926"/>
                  </a:cubicBezTo>
                  <a:cubicBezTo>
                    <a:pt x="40115" y="386322"/>
                    <a:pt x="56248" y="380747"/>
                    <a:pt x="72971" y="379828"/>
                  </a:cubicBezTo>
                  <a:cubicBezTo>
                    <a:pt x="99213" y="377748"/>
                    <a:pt x="125590" y="381488"/>
                    <a:pt x="150219" y="390782"/>
                  </a:cubicBezTo>
                  <a:cubicBezTo>
                    <a:pt x="158506" y="393449"/>
                    <a:pt x="167173" y="397831"/>
                    <a:pt x="176317" y="401641"/>
                  </a:cubicBezTo>
                  <a:close/>
                  <a:moveTo>
                    <a:pt x="202702" y="248003"/>
                  </a:moveTo>
                  <a:lnTo>
                    <a:pt x="202702" y="248003"/>
                  </a:lnTo>
                  <a:lnTo>
                    <a:pt x="202702" y="427072"/>
                  </a:lnTo>
                  <a:cubicBezTo>
                    <a:pt x="202585" y="431369"/>
                    <a:pt x="201082" y="435512"/>
                    <a:pt x="198416" y="438883"/>
                  </a:cubicBezTo>
                  <a:cubicBezTo>
                    <a:pt x="193177" y="445170"/>
                    <a:pt x="185461" y="444027"/>
                    <a:pt x="177937" y="437550"/>
                  </a:cubicBezTo>
                  <a:cubicBezTo>
                    <a:pt x="172808" y="432926"/>
                    <a:pt x="167366" y="428661"/>
                    <a:pt x="161649" y="424786"/>
                  </a:cubicBezTo>
                  <a:cubicBezTo>
                    <a:pt x="148412" y="417075"/>
                    <a:pt x="133892" y="411816"/>
                    <a:pt x="118787" y="409261"/>
                  </a:cubicBezTo>
                  <a:cubicBezTo>
                    <a:pt x="100067" y="404501"/>
                    <a:pt x="80491" y="404207"/>
                    <a:pt x="61637" y="408404"/>
                  </a:cubicBezTo>
                  <a:cubicBezTo>
                    <a:pt x="55115" y="410056"/>
                    <a:pt x="48906" y="412758"/>
                    <a:pt x="43253" y="416405"/>
                  </a:cubicBezTo>
                  <a:cubicBezTo>
                    <a:pt x="33759" y="421949"/>
                    <a:pt x="30558" y="434140"/>
                    <a:pt x="36103" y="443634"/>
                  </a:cubicBezTo>
                  <a:cubicBezTo>
                    <a:pt x="36105" y="443638"/>
                    <a:pt x="36107" y="443642"/>
                    <a:pt x="36110" y="443646"/>
                  </a:cubicBezTo>
                  <a:cubicBezTo>
                    <a:pt x="37980" y="446760"/>
                    <a:pt x="40642" y="449324"/>
                    <a:pt x="43825" y="451076"/>
                  </a:cubicBezTo>
                  <a:cubicBezTo>
                    <a:pt x="52302" y="456505"/>
                    <a:pt x="61541" y="460601"/>
                    <a:pt x="70495" y="465363"/>
                  </a:cubicBezTo>
                  <a:cubicBezTo>
                    <a:pt x="93708" y="477624"/>
                    <a:pt x="115658" y="492140"/>
                    <a:pt x="136027" y="508702"/>
                  </a:cubicBezTo>
                  <a:cubicBezTo>
                    <a:pt x="158642" y="527327"/>
                    <a:pt x="178777" y="548775"/>
                    <a:pt x="195939" y="572519"/>
                  </a:cubicBezTo>
                  <a:cubicBezTo>
                    <a:pt x="204124" y="583234"/>
                    <a:pt x="211510" y="594535"/>
                    <a:pt x="218037" y="606333"/>
                  </a:cubicBezTo>
                  <a:cubicBezTo>
                    <a:pt x="225467" y="620811"/>
                    <a:pt x="230896" y="636241"/>
                    <a:pt x="237658" y="651101"/>
                  </a:cubicBezTo>
                  <a:cubicBezTo>
                    <a:pt x="245752" y="670735"/>
                    <a:pt x="257193" y="688816"/>
                    <a:pt x="271472" y="704536"/>
                  </a:cubicBezTo>
                  <a:cubicBezTo>
                    <a:pt x="277852" y="712179"/>
                    <a:pt x="287434" y="716406"/>
                    <a:pt x="297380" y="715966"/>
                  </a:cubicBezTo>
                  <a:lnTo>
                    <a:pt x="496167" y="715966"/>
                  </a:lnTo>
                  <a:cubicBezTo>
                    <a:pt x="505666" y="716140"/>
                    <a:pt x="514735" y="712009"/>
                    <a:pt x="520837" y="704726"/>
                  </a:cubicBezTo>
                  <a:cubicBezTo>
                    <a:pt x="534648" y="688519"/>
                    <a:pt x="545862" y="670269"/>
                    <a:pt x="554079" y="650624"/>
                  </a:cubicBezTo>
                  <a:cubicBezTo>
                    <a:pt x="565869" y="624917"/>
                    <a:pt x="575429" y="598244"/>
                    <a:pt x="582654" y="570900"/>
                  </a:cubicBezTo>
                  <a:cubicBezTo>
                    <a:pt x="589044" y="549239"/>
                    <a:pt x="592441" y="526806"/>
                    <a:pt x="592750" y="504225"/>
                  </a:cubicBezTo>
                  <a:lnTo>
                    <a:pt x="592751" y="311153"/>
                  </a:lnTo>
                  <a:cubicBezTo>
                    <a:pt x="593062" y="303720"/>
                    <a:pt x="590920" y="296390"/>
                    <a:pt x="586655" y="290293"/>
                  </a:cubicBezTo>
                  <a:cubicBezTo>
                    <a:pt x="576754" y="276686"/>
                    <a:pt x="559325" y="270837"/>
                    <a:pt x="543221" y="275720"/>
                  </a:cubicBezTo>
                  <a:cubicBezTo>
                    <a:pt x="527105" y="280690"/>
                    <a:pt x="516302" y="295821"/>
                    <a:pt x="516836" y="312677"/>
                  </a:cubicBezTo>
                  <a:cubicBezTo>
                    <a:pt x="517408" y="337061"/>
                    <a:pt x="516836" y="361540"/>
                    <a:pt x="516836" y="386020"/>
                  </a:cubicBezTo>
                  <a:cubicBezTo>
                    <a:pt x="517574" y="391542"/>
                    <a:pt x="514589" y="396892"/>
                    <a:pt x="509502" y="399164"/>
                  </a:cubicBezTo>
                  <a:cubicBezTo>
                    <a:pt x="502828" y="402883"/>
                    <a:pt x="494408" y="400652"/>
                    <a:pt x="490452" y="394116"/>
                  </a:cubicBezTo>
                  <a:cubicBezTo>
                    <a:pt x="488907" y="391506"/>
                    <a:pt x="488271" y="388458"/>
                    <a:pt x="488642" y="385448"/>
                  </a:cubicBezTo>
                  <a:lnTo>
                    <a:pt x="488642" y="275149"/>
                  </a:lnTo>
                  <a:cubicBezTo>
                    <a:pt x="489015" y="269774"/>
                    <a:pt x="488369" y="264377"/>
                    <a:pt x="486737" y="259242"/>
                  </a:cubicBezTo>
                  <a:cubicBezTo>
                    <a:pt x="479437" y="241063"/>
                    <a:pt x="459541" y="231382"/>
                    <a:pt x="440732" y="236858"/>
                  </a:cubicBezTo>
                  <a:cubicBezTo>
                    <a:pt x="423692" y="240947"/>
                    <a:pt x="412071" y="256710"/>
                    <a:pt x="413204" y="274196"/>
                  </a:cubicBezTo>
                  <a:cubicBezTo>
                    <a:pt x="413966" y="311630"/>
                    <a:pt x="413204" y="349063"/>
                    <a:pt x="413204" y="386496"/>
                  </a:cubicBezTo>
                  <a:cubicBezTo>
                    <a:pt x="413384" y="392246"/>
                    <a:pt x="409907" y="397482"/>
                    <a:pt x="404536" y="399545"/>
                  </a:cubicBezTo>
                  <a:cubicBezTo>
                    <a:pt x="397854" y="403223"/>
                    <a:pt x="389455" y="400786"/>
                    <a:pt x="385778" y="394104"/>
                  </a:cubicBezTo>
                  <a:cubicBezTo>
                    <a:pt x="385676" y="393919"/>
                    <a:pt x="385579" y="393733"/>
                    <a:pt x="385486" y="393545"/>
                  </a:cubicBezTo>
                  <a:cubicBezTo>
                    <a:pt x="384169" y="391064"/>
                    <a:pt x="383669" y="388230"/>
                    <a:pt x="384058" y="385448"/>
                  </a:cubicBezTo>
                  <a:lnTo>
                    <a:pt x="384058" y="239239"/>
                  </a:lnTo>
                  <a:cubicBezTo>
                    <a:pt x="384452" y="218197"/>
                    <a:pt x="367714" y="200820"/>
                    <a:pt x="346672" y="200425"/>
                  </a:cubicBezTo>
                  <a:cubicBezTo>
                    <a:pt x="325630" y="200031"/>
                    <a:pt x="308252" y="216769"/>
                    <a:pt x="307858" y="237811"/>
                  </a:cubicBezTo>
                  <a:cubicBezTo>
                    <a:pt x="308429" y="256861"/>
                    <a:pt x="307858" y="275244"/>
                    <a:pt x="307858" y="294008"/>
                  </a:cubicBezTo>
                  <a:lnTo>
                    <a:pt x="307858" y="384972"/>
                  </a:lnTo>
                  <a:cubicBezTo>
                    <a:pt x="308399" y="392580"/>
                    <a:pt x="302670" y="399187"/>
                    <a:pt x="295062" y="399729"/>
                  </a:cubicBezTo>
                  <a:cubicBezTo>
                    <a:pt x="287876" y="400240"/>
                    <a:pt x="281504" y="395142"/>
                    <a:pt x="280426" y="388020"/>
                  </a:cubicBezTo>
                  <a:cubicBezTo>
                    <a:pt x="280381" y="387322"/>
                    <a:pt x="280381" y="386622"/>
                    <a:pt x="280426" y="385924"/>
                  </a:cubicBezTo>
                  <a:lnTo>
                    <a:pt x="280426" y="72742"/>
                  </a:lnTo>
                  <a:cubicBezTo>
                    <a:pt x="280671" y="54845"/>
                    <a:pt x="268424" y="39189"/>
                    <a:pt x="250994" y="35119"/>
                  </a:cubicBezTo>
                  <a:cubicBezTo>
                    <a:pt x="230099" y="29770"/>
                    <a:pt x="208825" y="42371"/>
                    <a:pt x="203476" y="63265"/>
                  </a:cubicBezTo>
                  <a:cubicBezTo>
                    <a:pt x="203439" y="63408"/>
                    <a:pt x="203403" y="63551"/>
                    <a:pt x="203369" y="63694"/>
                  </a:cubicBezTo>
                  <a:cubicBezTo>
                    <a:pt x="202655" y="66626"/>
                    <a:pt x="202272" y="69629"/>
                    <a:pt x="202225" y="72647"/>
                  </a:cubicBezTo>
                  <a:cubicBezTo>
                    <a:pt x="203369" y="130655"/>
                    <a:pt x="202702" y="189424"/>
                    <a:pt x="202702" y="248003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572">
              <a:extLst>
                <a:ext uri="{FF2B5EF4-FFF2-40B4-BE49-F238E27FC236}">
                  <a16:creationId xmlns:a16="http://schemas.microsoft.com/office/drawing/2014/main" id="{C2C1474B-0391-1F4C-916E-83C803FF936F}"/>
                </a:ext>
              </a:extLst>
            </p:cNvPr>
            <p:cNvSpPr/>
            <p:nvPr/>
          </p:nvSpPr>
          <p:spPr>
            <a:xfrm>
              <a:off x="6488240" y="4655820"/>
              <a:ext cx="142875" cy="38100"/>
            </a:xfrm>
            <a:custGeom>
              <a:avLst/>
              <a:gdLst>
                <a:gd name="connsiteX0" fmla="*/ 126778 w 142875"/>
                <a:gd name="connsiteY0" fmla="*/ 35719 h 38100"/>
                <a:gd name="connsiteX1" fmla="*/ 21431 w 142875"/>
                <a:gd name="connsiteY1" fmla="*/ 35719 h 38100"/>
                <a:gd name="connsiteX2" fmla="*/ 7144 w 142875"/>
                <a:gd name="connsiteY2" fmla="*/ 21431 h 38100"/>
                <a:gd name="connsiteX3" fmla="*/ 21431 w 142875"/>
                <a:gd name="connsiteY3" fmla="*/ 7144 h 38100"/>
                <a:gd name="connsiteX4" fmla="*/ 126778 w 142875"/>
                <a:gd name="connsiteY4" fmla="*/ 7144 h 38100"/>
                <a:gd name="connsiteX5" fmla="*/ 141065 w 142875"/>
                <a:gd name="connsiteY5" fmla="*/ 21431 h 38100"/>
                <a:gd name="connsiteX6" fmla="*/ 126778 w 142875"/>
                <a:gd name="connsiteY6" fmla="*/ 35719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5" h="38100">
                  <a:moveTo>
                    <a:pt x="126778" y="35719"/>
                  </a:moveTo>
                  <a:lnTo>
                    <a:pt x="21431" y="35719"/>
                  </a:lnTo>
                  <a:cubicBezTo>
                    <a:pt x="13540" y="35719"/>
                    <a:pt x="7144" y="29322"/>
                    <a:pt x="7144" y="21431"/>
                  </a:cubicBezTo>
                  <a:cubicBezTo>
                    <a:pt x="7144" y="13540"/>
                    <a:pt x="13540" y="7144"/>
                    <a:pt x="21431" y="7144"/>
                  </a:cubicBezTo>
                  <a:lnTo>
                    <a:pt x="126778" y="7144"/>
                  </a:lnTo>
                  <a:cubicBezTo>
                    <a:pt x="134669" y="7144"/>
                    <a:pt x="141065" y="13540"/>
                    <a:pt x="141065" y="21431"/>
                  </a:cubicBezTo>
                  <a:cubicBezTo>
                    <a:pt x="141065" y="29322"/>
                    <a:pt x="134669" y="35719"/>
                    <a:pt x="126778" y="3571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573">
              <a:extLst>
                <a:ext uri="{FF2B5EF4-FFF2-40B4-BE49-F238E27FC236}">
                  <a16:creationId xmlns:a16="http://schemas.microsoft.com/office/drawing/2014/main" id="{C92F569C-35CD-0A47-9516-FB54B0FCC256}"/>
                </a:ext>
              </a:extLst>
            </p:cNvPr>
            <p:cNvSpPr/>
            <p:nvPr/>
          </p:nvSpPr>
          <p:spPr>
            <a:xfrm>
              <a:off x="6488240" y="4734211"/>
              <a:ext cx="142875" cy="38100"/>
            </a:xfrm>
            <a:custGeom>
              <a:avLst/>
              <a:gdLst>
                <a:gd name="connsiteX0" fmla="*/ 126778 w 142875"/>
                <a:gd name="connsiteY0" fmla="*/ 35719 h 38100"/>
                <a:gd name="connsiteX1" fmla="*/ 21431 w 142875"/>
                <a:gd name="connsiteY1" fmla="*/ 35719 h 38100"/>
                <a:gd name="connsiteX2" fmla="*/ 7144 w 142875"/>
                <a:gd name="connsiteY2" fmla="*/ 21431 h 38100"/>
                <a:gd name="connsiteX3" fmla="*/ 21431 w 142875"/>
                <a:gd name="connsiteY3" fmla="*/ 7144 h 38100"/>
                <a:gd name="connsiteX4" fmla="*/ 126778 w 142875"/>
                <a:gd name="connsiteY4" fmla="*/ 7144 h 38100"/>
                <a:gd name="connsiteX5" fmla="*/ 141065 w 142875"/>
                <a:gd name="connsiteY5" fmla="*/ 21431 h 38100"/>
                <a:gd name="connsiteX6" fmla="*/ 126778 w 142875"/>
                <a:gd name="connsiteY6" fmla="*/ 35719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5" h="38100">
                  <a:moveTo>
                    <a:pt x="126778" y="35719"/>
                  </a:moveTo>
                  <a:lnTo>
                    <a:pt x="21431" y="35719"/>
                  </a:lnTo>
                  <a:cubicBezTo>
                    <a:pt x="13540" y="35719"/>
                    <a:pt x="7144" y="29322"/>
                    <a:pt x="7144" y="21431"/>
                  </a:cubicBezTo>
                  <a:cubicBezTo>
                    <a:pt x="7144" y="13540"/>
                    <a:pt x="13540" y="7144"/>
                    <a:pt x="21431" y="7144"/>
                  </a:cubicBezTo>
                  <a:lnTo>
                    <a:pt x="126778" y="7144"/>
                  </a:lnTo>
                  <a:cubicBezTo>
                    <a:pt x="134669" y="7144"/>
                    <a:pt x="141065" y="13540"/>
                    <a:pt x="141065" y="21431"/>
                  </a:cubicBezTo>
                  <a:cubicBezTo>
                    <a:pt x="141065" y="29322"/>
                    <a:pt x="134669" y="35719"/>
                    <a:pt x="126778" y="35719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574">
              <a:extLst>
                <a:ext uri="{FF2B5EF4-FFF2-40B4-BE49-F238E27FC236}">
                  <a16:creationId xmlns:a16="http://schemas.microsoft.com/office/drawing/2014/main" id="{DB32A111-2A85-CC4A-94E8-0B129CF10A3C}"/>
                </a:ext>
              </a:extLst>
            </p:cNvPr>
            <p:cNvSpPr/>
            <p:nvPr/>
          </p:nvSpPr>
          <p:spPr>
            <a:xfrm>
              <a:off x="6904142" y="4657725"/>
              <a:ext cx="295275" cy="38100"/>
            </a:xfrm>
            <a:custGeom>
              <a:avLst/>
              <a:gdLst>
                <a:gd name="connsiteX0" fmla="*/ 278470 w 295275"/>
                <a:gd name="connsiteY0" fmla="*/ 32004 h 38100"/>
                <a:gd name="connsiteX1" fmla="*/ 18533 w 295275"/>
                <a:gd name="connsiteY1" fmla="*/ 32004 h 38100"/>
                <a:gd name="connsiteX2" fmla="*/ 7192 w 295275"/>
                <a:gd name="connsiteY2" fmla="*/ 18485 h 38100"/>
                <a:gd name="connsiteX3" fmla="*/ 18533 w 295275"/>
                <a:gd name="connsiteY3" fmla="*/ 7144 h 38100"/>
                <a:gd name="connsiteX4" fmla="*/ 278470 w 295275"/>
                <a:gd name="connsiteY4" fmla="*/ 7144 h 38100"/>
                <a:gd name="connsiteX5" fmla="*/ 289811 w 295275"/>
                <a:gd name="connsiteY5" fmla="*/ 20663 h 38100"/>
                <a:gd name="connsiteX6" fmla="*/ 278470 w 295275"/>
                <a:gd name="connsiteY6" fmla="*/ 3200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5275" h="38100">
                  <a:moveTo>
                    <a:pt x="278470" y="32004"/>
                  </a:moveTo>
                  <a:lnTo>
                    <a:pt x="18533" y="32004"/>
                  </a:lnTo>
                  <a:cubicBezTo>
                    <a:pt x="11668" y="31402"/>
                    <a:pt x="6591" y="25350"/>
                    <a:pt x="7192" y="18485"/>
                  </a:cubicBezTo>
                  <a:cubicBezTo>
                    <a:pt x="7721" y="12454"/>
                    <a:pt x="12502" y="7672"/>
                    <a:pt x="18533" y="7144"/>
                  </a:cubicBezTo>
                  <a:lnTo>
                    <a:pt x="278470" y="7144"/>
                  </a:lnTo>
                  <a:cubicBezTo>
                    <a:pt x="285335" y="7745"/>
                    <a:pt x="290413" y="13798"/>
                    <a:pt x="289811" y="20663"/>
                  </a:cubicBezTo>
                  <a:cubicBezTo>
                    <a:pt x="289283" y="26694"/>
                    <a:pt x="284501" y="31476"/>
                    <a:pt x="278470" y="3200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575">
              <a:extLst>
                <a:ext uri="{FF2B5EF4-FFF2-40B4-BE49-F238E27FC236}">
                  <a16:creationId xmlns:a16="http://schemas.microsoft.com/office/drawing/2014/main" id="{D034D132-6F1D-EF40-A885-D8E33EBA76E9}"/>
                </a:ext>
              </a:extLst>
            </p:cNvPr>
            <p:cNvSpPr/>
            <p:nvPr/>
          </p:nvSpPr>
          <p:spPr>
            <a:xfrm>
              <a:off x="6904142" y="4736116"/>
              <a:ext cx="295275" cy="38100"/>
            </a:xfrm>
            <a:custGeom>
              <a:avLst/>
              <a:gdLst>
                <a:gd name="connsiteX0" fmla="*/ 278470 w 295275"/>
                <a:gd name="connsiteY0" fmla="*/ 32004 h 38100"/>
                <a:gd name="connsiteX1" fmla="*/ 18533 w 295275"/>
                <a:gd name="connsiteY1" fmla="*/ 32004 h 38100"/>
                <a:gd name="connsiteX2" fmla="*/ 7192 w 295275"/>
                <a:gd name="connsiteY2" fmla="*/ 18485 h 38100"/>
                <a:gd name="connsiteX3" fmla="*/ 18533 w 295275"/>
                <a:gd name="connsiteY3" fmla="*/ 7144 h 38100"/>
                <a:gd name="connsiteX4" fmla="*/ 278470 w 295275"/>
                <a:gd name="connsiteY4" fmla="*/ 7144 h 38100"/>
                <a:gd name="connsiteX5" fmla="*/ 289811 w 295275"/>
                <a:gd name="connsiteY5" fmla="*/ 20663 h 38100"/>
                <a:gd name="connsiteX6" fmla="*/ 278470 w 295275"/>
                <a:gd name="connsiteY6" fmla="*/ 32004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95275" h="38100">
                  <a:moveTo>
                    <a:pt x="278470" y="32004"/>
                  </a:moveTo>
                  <a:lnTo>
                    <a:pt x="18533" y="32004"/>
                  </a:lnTo>
                  <a:cubicBezTo>
                    <a:pt x="11668" y="31403"/>
                    <a:pt x="6591" y="25350"/>
                    <a:pt x="7192" y="18485"/>
                  </a:cubicBezTo>
                  <a:cubicBezTo>
                    <a:pt x="7721" y="12454"/>
                    <a:pt x="12502" y="7672"/>
                    <a:pt x="18533" y="7144"/>
                  </a:cubicBezTo>
                  <a:lnTo>
                    <a:pt x="278470" y="7144"/>
                  </a:lnTo>
                  <a:cubicBezTo>
                    <a:pt x="285335" y="7745"/>
                    <a:pt x="290413" y="13798"/>
                    <a:pt x="289811" y="20663"/>
                  </a:cubicBezTo>
                  <a:cubicBezTo>
                    <a:pt x="289283" y="26694"/>
                    <a:pt x="284501" y="31476"/>
                    <a:pt x="278470" y="3200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" name="Graphic 29">
            <a:extLst>
              <a:ext uri="{FF2B5EF4-FFF2-40B4-BE49-F238E27FC236}">
                <a16:creationId xmlns:a16="http://schemas.microsoft.com/office/drawing/2014/main" id="{FA0AD33A-B7D4-1341-B7C6-84D563E5F39A}"/>
              </a:ext>
            </a:extLst>
          </p:cNvPr>
          <p:cNvGrpSpPr>
            <a:grpSpLocks noChangeAspect="1"/>
          </p:cNvGrpSpPr>
          <p:nvPr/>
        </p:nvGrpSpPr>
        <p:grpSpPr>
          <a:xfrm>
            <a:off x="3751317" y="1389408"/>
            <a:ext cx="1371600" cy="1371600"/>
            <a:chOff x="4343400" y="2209800"/>
            <a:chExt cx="1714500" cy="1714500"/>
          </a:xfrm>
        </p:grpSpPr>
        <p:sp>
          <p:nvSpPr>
            <p:cNvPr id="16" name="Freeform: Shape 517">
              <a:extLst>
                <a:ext uri="{FF2B5EF4-FFF2-40B4-BE49-F238E27FC236}">
                  <a16:creationId xmlns:a16="http://schemas.microsoft.com/office/drawing/2014/main" id="{673A0202-675C-C14D-8996-6884CE6059F7}"/>
                </a:ext>
              </a:extLst>
            </p:cNvPr>
            <p:cNvSpPr/>
            <p:nvPr/>
          </p:nvSpPr>
          <p:spPr>
            <a:xfrm>
              <a:off x="4519517" y="2455735"/>
              <a:ext cx="1266825" cy="1266825"/>
            </a:xfrm>
            <a:custGeom>
              <a:avLst/>
              <a:gdLst>
                <a:gd name="connsiteX0" fmla="*/ 636842 w 1266825"/>
                <a:gd name="connsiteY0" fmla="*/ 1266539 h 1266825"/>
                <a:gd name="connsiteX1" fmla="*/ 7144 w 1266825"/>
                <a:gd name="connsiteY1" fmla="*/ 636842 h 1266825"/>
                <a:gd name="connsiteX2" fmla="*/ 636842 w 1266825"/>
                <a:gd name="connsiteY2" fmla="*/ 7144 h 1266825"/>
                <a:gd name="connsiteX3" fmla="*/ 1266539 w 1266825"/>
                <a:gd name="connsiteY3" fmla="*/ 636842 h 1266825"/>
                <a:gd name="connsiteX4" fmla="*/ 636841 w 1266825"/>
                <a:gd name="connsiteY4" fmla="*/ 1266539 h 1266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6825" h="1266825">
                  <a:moveTo>
                    <a:pt x="636842" y="1266539"/>
                  </a:moveTo>
                  <a:cubicBezTo>
                    <a:pt x="289069" y="1266539"/>
                    <a:pt x="7144" y="984614"/>
                    <a:pt x="7144" y="636842"/>
                  </a:cubicBezTo>
                  <a:cubicBezTo>
                    <a:pt x="7144" y="289069"/>
                    <a:pt x="289069" y="7144"/>
                    <a:pt x="636842" y="7144"/>
                  </a:cubicBezTo>
                  <a:cubicBezTo>
                    <a:pt x="984614" y="7144"/>
                    <a:pt x="1266539" y="289069"/>
                    <a:pt x="1266539" y="636842"/>
                  </a:cubicBezTo>
                  <a:cubicBezTo>
                    <a:pt x="1266119" y="984440"/>
                    <a:pt x="984440" y="1266119"/>
                    <a:pt x="636841" y="1266539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518">
              <a:extLst>
                <a:ext uri="{FF2B5EF4-FFF2-40B4-BE49-F238E27FC236}">
                  <a16:creationId xmlns:a16="http://schemas.microsoft.com/office/drawing/2014/main" id="{7EE05916-65B3-5F4F-B9AE-3E957EF2C276}"/>
                </a:ext>
              </a:extLst>
            </p:cNvPr>
            <p:cNvSpPr/>
            <p:nvPr/>
          </p:nvSpPr>
          <p:spPr>
            <a:xfrm>
              <a:off x="4943749" y="2861977"/>
              <a:ext cx="419100" cy="714375"/>
            </a:xfrm>
            <a:custGeom>
              <a:avLst/>
              <a:gdLst>
                <a:gd name="connsiteX0" fmla="*/ 267283 w 419100"/>
                <a:gd name="connsiteY0" fmla="*/ 712946 h 714375"/>
                <a:gd name="connsiteX1" fmla="*/ 212705 w 419100"/>
                <a:gd name="connsiteY1" fmla="*/ 687134 h 714375"/>
                <a:gd name="connsiteX2" fmla="*/ 110941 w 419100"/>
                <a:gd name="connsiteY2" fmla="*/ 695481 h 714375"/>
                <a:gd name="connsiteX3" fmla="*/ 85451 w 419100"/>
                <a:gd name="connsiteY3" fmla="*/ 640842 h 714375"/>
                <a:gd name="connsiteX4" fmla="*/ 85451 w 419100"/>
                <a:gd name="connsiteY4" fmla="*/ 370523 h 714375"/>
                <a:gd name="connsiteX5" fmla="*/ 8680 w 419100"/>
                <a:gd name="connsiteY5" fmla="*/ 314134 h 714375"/>
                <a:gd name="connsiteX6" fmla="*/ 7156 w 419100"/>
                <a:gd name="connsiteY6" fmla="*/ 297656 h 714375"/>
                <a:gd name="connsiteX7" fmla="*/ 7156 w 419100"/>
                <a:gd name="connsiteY7" fmla="*/ 79819 h 714375"/>
                <a:gd name="connsiteX8" fmla="*/ 76974 w 419100"/>
                <a:gd name="connsiteY8" fmla="*/ 7144 h 714375"/>
                <a:gd name="connsiteX9" fmla="*/ 145078 w 419100"/>
                <a:gd name="connsiteY9" fmla="*/ 7144 h 714375"/>
                <a:gd name="connsiteX10" fmla="*/ 168700 w 419100"/>
                <a:gd name="connsiteY10" fmla="*/ 18002 h 714375"/>
                <a:gd name="connsiteX11" fmla="*/ 212896 w 419100"/>
                <a:gd name="connsiteY11" fmla="*/ 81820 h 714375"/>
                <a:gd name="connsiteX12" fmla="*/ 256711 w 419100"/>
                <a:gd name="connsiteY12" fmla="*/ 18288 h 714375"/>
                <a:gd name="connsiteX13" fmla="*/ 278523 w 419100"/>
                <a:gd name="connsiteY13" fmla="*/ 7144 h 714375"/>
                <a:gd name="connsiteX14" fmla="*/ 279571 w 419100"/>
                <a:gd name="connsiteY14" fmla="*/ 7144 h 714375"/>
                <a:gd name="connsiteX15" fmla="*/ 325481 w 419100"/>
                <a:gd name="connsiteY15" fmla="*/ 7144 h 714375"/>
                <a:gd name="connsiteX16" fmla="*/ 348055 w 419100"/>
                <a:gd name="connsiteY16" fmla="*/ 7144 h 714375"/>
                <a:gd name="connsiteX17" fmla="*/ 418826 w 419100"/>
                <a:gd name="connsiteY17" fmla="*/ 77724 h 714375"/>
                <a:gd name="connsiteX18" fmla="*/ 418826 w 419100"/>
                <a:gd name="connsiteY18" fmla="*/ 300323 h 714375"/>
                <a:gd name="connsiteX19" fmla="*/ 349389 w 419100"/>
                <a:gd name="connsiteY19" fmla="*/ 370808 h 714375"/>
                <a:gd name="connsiteX20" fmla="*/ 340626 w 419100"/>
                <a:gd name="connsiteY20" fmla="*/ 370808 h 714375"/>
                <a:gd name="connsiteX21" fmla="*/ 340626 w 419100"/>
                <a:gd name="connsiteY21" fmla="*/ 379762 h 714375"/>
                <a:gd name="connsiteX22" fmla="*/ 340626 w 419100"/>
                <a:gd name="connsiteY22" fmla="*/ 638080 h 714375"/>
                <a:gd name="connsiteX23" fmla="*/ 322719 w 419100"/>
                <a:gd name="connsiteY23" fmla="*/ 688848 h 714375"/>
                <a:gd name="connsiteX24" fmla="*/ 273570 w 419100"/>
                <a:gd name="connsiteY24" fmla="*/ 712756 h 714375"/>
                <a:gd name="connsiteX25" fmla="*/ 219658 w 419100"/>
                <a:gd name="connsiteY25" fmla="*/ 646271 h 714375"/>
                <a:gd name="connsiteX26" fmla="*/ 231660 w 419100"/>
                <a:gd name="connsiteY26" fmla="*/ 664083 h 714375"/>
                <a:gd name="connsiteX27" fmla="*/ 270808 w 419100"/>
                <a:gd name="connsiteY27" fmla="*/ 684562 h 714375"/>
                <a:gd name="connsiteX28" fmla="*/ 271855 w 419100"/>
                <a:gd name="connsiteY28" fmla="*/ 684562 h 714375"/>
                <a:gd name="connsiteX29" fmla="*/ 312051 w 419100"/>
                <a:gd name="connsiteY29" fmla="*/ 639223 h 714375"/>
                <a:gd name="connsiteX30" fmla="*/ 312051 w 419100"/>
                <a:gd name="connsiteY30" fmla="*/ 379667 h 714375"/>
                <a:gd name="connsiteX31" fmla="*/ 348818 w 419100"/>
                <a:gd name="connsiteY31" fmla="*/ 341567 h 714375"/>
                <a:gd name="connsiteX32" fmla="*/ 390251 w 419100"/>
                <a:gd name="connsiteY32" fmla="*/ 300323 h 714375"/>
                <a:gd name="connsiteX33" fmla="*/ 390251 w 419100"/>
                <a:gd name="connsiteY33" fmla="*/ 77915 h 714375"/>
                <a:gd name="connsiteX34" fmla="*/ 348055 w 419100"/>
                <a:gd name="connsiteY34" fmla="*/ 35623 h 714375"/>
                <a:gd name="connsiteX35" fmla="*/ 325481 w 419100"/>
                <a:gd name="connsiteY35" fmla="*/ 35623 h 714375"/>
                <a:gd name="connsiteX36" fmla="*/ 281190 w 419100"/>
                <a:gd name="connsiteY36" fmla="*/ 35623 h 714375"/>
                <a:gd name="connsiteX37" fmla="*/ 278523 w 419100"/>
                <a:gd name="connsiteY37" fmla="*/ 37052 h 714375"/>
                <a:gd name="connsiteX38" fmla="*/ 225183 w 419100"/>
                <a:gd name="connsiteY38" fmla="*/ 115919 h 714375"/>
                <a:gd name="connsiteX39" fmla="*/ 213086 w 419100"/>
                <a:gd name="connsiteY39" fmla="*/ 134969 h 714375"/>
                <a:gd name="connsiteX40" fmla="*/ 200989 w 419100"/>
                <a:gd name="connsiteY40" fmla="*/ 115919 h 714375"/>
                <a:gd name="connsiteX41" fmla="*/ 147364 w 419100"/>
                <a:gd name="connsiteY41" fmla="*/ 36767 h 714375"/>
                <a:gd name="connsiteX42" fmla="*/ 144506 w 419100"/>
                <a:gd name="connsiteY42" fmla="*/ 35719 h 714375"/>
                <a:gd name="connsiteX43" fmla="*/ 77831 w 419100"/>
                <a:gd name="connsiteY43" fmla="*/ 35719 h 714375"/>
                <a:gd name="connsiteX44" fmla="*/ 35921 w 419100"/>
                <a:gd name="connsiteY44" fmla="*/ 79534 h 714375"/>
                <a:gd name="connsiteX45" fmla="*/ 35921 w 419100"/>
                <a:gd name="connsiteY45" fmla="*/ 298037 h 714375"/>
                <a:gd name="connsiteX46" fmla="*/ 36778 w 419100"/>
                <a:gd name="connsiteY46" fmla="*/ 307562 h 714375"/>
                <a:gd name="connsiteX47" fmla="*/ 86404 w 419100"/>
                <a:gd name="connsiteY47" fmla="*/ 341471 h 714375"/>
                <a:gd name="connsiteX48" fmla="*/ 114217 w 419100"/>
                <a:gd name="connsiteY48" fmla="*/ 368998 h 714375"/>
                <a:gd name="connsiteX49" fmla="*/ 114217 w 419100"/>
                <a:gd name="connsiteY49" fmla="*/ 640366 h 714375"/>
                <a:gd name="connsiteX50" fmla="*/ 158111 w 419100"/>
                <a:gd name="connsiteY50" fmla="*/ 683719 h 714375"/>
                <a:gd name="connsiteX51" fmla="*/ 195179 w 419100"/>
                <a:gd name="connsiteY51" fmla="*/ 662654 h 714375"/>
                <a:gd name="connsiteX52" fmla="*/ 197370 w 419100"/>
                <a:gd name="connsiteY52" fmla="*/ 659130 h 714375"/>
                <a:gd name="connsiteX53" fmla="*/ 200228 w 419100"/>
                <a:gd name="connsiteY53" fmla="*/ 654749 h 714375"/>
                <a:gd name="connsiteX54" fmla="*/ 205371 w 419100"/>
                <a:gd name="connsiteY54" fmla="*/ 647319 h 714375"/>
                <a:gd name="connsiteX55" fmla="*/ 211753 w 419100"/>
                <a:gd name="connsiteY55" fmla="*/ 648367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419100" h="714375">
                  <a:moveTo>
                    <a:pt x="267283" y="712946"/>
                  </a:moveTo>
                  <a:cubicBezTo>
                    <a:pt x="246146" y="712937"/>
                    <a:pt x="226123" y="703467"/>
                    <a:pt x="212705" y="687134"/>
                  </a:cubicBezTo>
                  <a:cubicBezTo>
                    <a:pt x="186909" y="717540"/>
                    <a:pt x="141348" y="721277"/>
                    <a:pt x="110941" y="695481"/>
                  </a:cubicBezTo>
                  <a:cubicBezTo>
                    <a:pt x="94883" y="681857"/>
                    <a:pt x="85573" y="661901"/>
                    <a:pt x="85451" y="640842"/>
                  </a:cubicBezTo>
                  <a:lnTo>
                    <a:pt x="85451" y="370523"/>
                  </a:lnTo>
                  <a:cubicBezTo>
                    <a:pt x="44399" y="370523"/>
                    <a:pt x="17062" y="350330"/>
                    <a:pt x="8680" y="314134"/>
                  </a:cubicBezTo>
                  <a:cubicBezTo>
                    <a:pt x="7568" y="308714"/>
                    <a:pt x="7057" y="303188"/>
                    <a:pt x="7156" y="297656"/>
                  </a:cubicBezTo>
                  <a:lnTo>
                    <a:pt x="7156" y="79819"/>
                  </a:lnTo>
                  <a:cubicBezTo>
                    <a:pt x="6464" y="40509"/>
                    <a:pt x="37667" y="8029"/>
                    <a:pt x="76974" y="7144"/>
                  </a:cubicBezTo>
                  <a:lnTo>
                    <a:pt x="145078" y="7144"/>
                  </a:lnTo>
                  <a:cubicBezTo>
                    <a:pt x="154104" y="7384"/>
                    <a:pt x="162640" y="11308"/>
                    <a:pt x="168700" y="18002"/>
                  </a:cubicBezTo>
                  <a:cubicBezTo>
                    <a:pt x="179463" y="30861"/>
                    <a:pt x="199847" y="61627"/>
                    <a:pt x="212896" y="81820"/>
                  </a:cubicBezTo>
                  <a:cubicBezTo>
                    <a:pt x="225850" y="61722"/>
                    <a:pt x="246043" y="31242"/>
                    <a:pt x="256711" y="18288"/>
                  </a:cubicBezTo>
                  <a:cubicBezTo>
                    <a:pt x="262333" y="11978"/>
                    <a:pt x="270115" y="8002"/>
                    <a:pt x="278523" y="7144"/>
                  </a:cubicBezTo>
                  <a:lnTo>
                    <a:pt x="279571" y="7144"/>
                  </a:lnTo>
                  <a:cubicBezTo>
                    <a:pt x="294906" y="7144"/>
                    <a:pt x="310432" y="7144"/>
                    <a:pt x="325481" y="7144"/>
                  </a:cubicBezTo>
                  <a:lnTo>
                    <a:pt x="348055" y="7144"/>
                  </a:lnTo>
                  <a:cubicBezTo>
                    <a:pt x="387002" y="7299"/>
                    <a:pt x="418566" y="38778"/>
                    <a:pt x="418826" y="77724"/>
                  </a:cubicBezTo>
                  <a:lnTo>
                    <a:pt x="418826" y="300323"/>
                  </a:lnTo>
                  <a:cubicBezTo>
                    <a:pt x="418678" y="338783"/>
                    <a:pt x="387842" y="370084"/>
                    <a:pt x="349389" y="370808"/>
                  </a:cubicBezTo>
                  <a:lnTo>
                    <a:pt x="340626" y="370808"/>
                  </a:lnTo>
                  <a:cubicBezTo>
                    <a:pt x="340626" y="373285"/>
                    <a:pt x="340626" y="376619"/>
                    <a:pt x="340626" y="379762"/>
                  </a:cubicBezTo>
                  <a:lnTo>
                    <a:pt x="340626" y="638080"/>
                  </a:lnTo>
                  <a:cubicBezTo>
                    <a:pt x="341662" y="656713"/>
                    <a:pt x="335216" y="674988"/>
                    <a:pt x="322719" y="688848"/>
                  </a:cubicBezTo>
                  <a:cubicBezTo>
                    <a:pt x="310192" y="703069"/>
                    <a:pt x="292491" y="711679"/>
                    <a:pt x="273570" y="712756"/>
                  </a:cubicBezTo>
                  <a:close/>
                  <a:moveTo>
                    <a:pt x="219658" y="646271"/>
                  </a:moveTo>
                  <a:lnTo>
                    <a:pt x="231660" y="664083"/>
                  </a:lnTo>
                  <a:cubicBezTo>
                    <a:pt x="239644" y="677912"/>
                    <a:pt x="254894" y="685890"/>
                    <a:pt x="270808" y="684562"/>
                  </a:cubicBezTo>
                  <a:lnTo>
                    <a:pt x="271855" y="684562"/>
                  </a:lnTo>
                  <a:cubicBezTo>
                    <a:pt x="295470" y="683132"/>
                    <a:pt x="313461" y="662839"/>
                    <a:pt x="312051" y="639223"/>
                  </a:cubicBezTo>
                  <a:lnTo>
                    <a:pt x="312051" y="379667"/>
                  </a:lnTo>
                  <a:cubicBezTo>
                    <a:pt x="312051" y="349186"/>
                    <a:pt x="318242" y="342805"/>
                    <a:pt x="348818" y="341567"/>
                  </a:cubicBezTo>
                  <a:cubicBezTo>
                    <a:pt x="371479" y="341212"/>
                    <a:pt x="389793" y="322982"/>
                    <a:pt x="390251" y="300323"/>
                  </a:cubicBezTo>
                  <a:lnTo>
                    <a:pt x="390251" y="77915"/>
                  </a:lnTo>
                  <a:cubicBezTo>
                    <a:pt x="390096" y="54659"/>
                    <a:pt x="371310" y="35831"/>
                    <a:pt x="348055" y="35623"/>
                  </a:cubicBezTo>
                  <a:cubicBezTo>
                    <a:pt x="341007" y="35623"/>
                    <a:pt x="333101" y="35623"/>
                    <a:pt x="325481" y="35623"/>
                  </a:cubicBezTo>
                  <a:cubicBezTo>
                    <a:pt x="310908" y="35623"/>
                    <a:pt x="295858" y="35623"/>
                    <a:pt x="281190" y="35623"/>
                  </a:cubicBezTo>
                  <a:cubicBezTo>
                    <a:pt x="280151" y="35742"/>
                    <a:pt x="279197" y="36253"/>
                    <a:pt x="278523" y="37052"/>
                  </a:cubicBezTo>
                  <a:cubicBezTo>
                    <a:pt x="263950" y="54769"/>
                    <a:pt x="225564" y="115348"/>
                    <a:pt x="225183" y="115919"/>
                  </a:cubicBezTo>
                  <a:lnTo>
                    <a:pt x="213086" y="134969"/>
                  </a:lnTo>
                  <a:lnTo>
                    <a:pt x="200989" y="115919"/>
                  </a:lnTo>
                  <a:cubicBezTo>
                    <a:pt x="200989" y="115348"/>
                    <a:pt x="162128" y="54388"/>
                    <a:pt x="147364" y="36767"/>
                  </a:cubicBezTo>
                  <a:cubicBezTo>
                    <a:pt x="146567" y="36087"/>
                    <a:pt x="145553" y="35715"/>
                    <a:pt x="144506" y="35719"/>
                  </a:cubicBezTo>
                  <a:lnTo>
                    <a:pt x="77831" y="35719"/>
                  </a:lnTo>
                  <a:cubicBezTo>
                    <a:pt x="54179" y="36291"/>
                    <a:pt x="35442" y="55880"/>
                    <a:pt x="35921" y="79534"/>
                  </a:cubicBezTo>
                  <a:lnTo>
                    <a:pt x="35921" y="298037"/>
                  </a:lnTo>
                  <a:cubicBezTo>
                    <a:pt x="35848" y="301234"/>
                    <a:pt x="36136" y="304430"/>
                    <a:pt x="36778" y="307562"/>
                  </a:cubicBezTo>
                  <a:cubicBezTo>
                    <a:pt x="40112" y="321850"/>
                    <a:pt x="48970" y="341471"/>
                    <a:pt x="86404" y="341471"/>
                  </a:cubicBezTo>
                  <a:cubicBezTo>
                    <a:pt x="107740" y="341471"/>
                    <a:pt x="114217" y="348044"/>
                    <a:pt x="114217" y="368998"/>
                  </a:cubicBezTo>
                  <a:lnTo>
                    <a:pt x="114217" y="640366"/>
                  </a:lnTo>
                  <a:cubicBezTo>
                    <a:pt x="114366" y="664458"/>
                    <a:pt x="134018" y="683868"/>
                    <a:pt x="158111" y="683719"/>
                  </a:cubicBezTo>
                  <a:cubicBezTo>
                    <a:pt x="173290" y="683625"/>
                    <a:pt x="187329" y="675647"/>
                    <a:pt x="195179" y="662654"/>
                  </a:cubicBezTo>
                  <a:lnTo>
                    <a:pt x="197370" y="659130"/>
                  </a:lnTo>
                  <a:lnTo>
                    <a:pt x="200228" y="654749"/>
                  </a:lnTo>
                  <a:lnTo>
                    <a:pt x="205371" y="647319"/>
                  </a:lnTo>
                  <a:lnTo>
                    <a:pt x="211753" y="648367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519">
              <a:extLst>
                <a:ext uri="{FF2B5EF4-FFF2-40B4-BE49-F238E27FC236}">
                  <a16:creationId xmlns:a16="http://schemas.microsoft.com/office/drawing/2014/main" id="{1BBC2B61-1163-F043-A86A-BB9A13CFDB3D}"/>
                </a:ext>
              </a:extLst>
            </p:cNvPr>
            <p:cNvSpPr/>
            <p:nvPr/>
          </p:nvSpPr>
          <p:spPr>
            <a:xfrm>
              <a:off x="5039047" y="2605726"/>
              <a:ext cx="228600" cy="228600"/>
            </a:xfrm>
            <a:custGeom>
              <a:avLst/>
              <a:gdLst>
                <a:gd name="connsiteX0" fmla="*/ 117121 w 228600"/>
                <a:gd name="connsiteY0" fmla="*/ 225104 h 228600"/>
                <a:gd name="connsiteX1" fmla="*/ 117121 w 228600"/>
                <a:gd name="connsiteY1" fmla="*/ 225104 h 228600"/>
                <a:gd name="connsiteX2" fmla="*/ 7154 w 228600"/>
                <a:gd name="connsiteY2" fmla="*/ 118112 h 228600"/>
                <a:gd name="connsiteX3" fmla="*/ 42064 w 228600"/>
                <a:gd name="connsiteY3" fmla="*/ 36890 h 228600"/>
                <a:gd name="connsiteX4" fmla="*/ 198097 w 228600"/>
                <a:gd name="connsiteY4" fmla="*/ 42155 h 228600"/>
                <a:gd name="connsiteX5" fmla="*/ 227802 w 228600"/>
                <a:gd name="connsiteY5" fmla="*/ 114519 h 228600"/>
                <a:gd name="connsiteX6" fmla="*/ 117216 w 228600"/>
                <a:gd name="connsiteY6" fmla="*/ 225104 h 228600"/>
                <a:gd name="connsiteX7" fmla="*/ 117121 w 228600"/>
                <a:gd name="connsiteY7" fmla="*/ 35747 h 228600"/>
                <a:gd name="connsiteX8" fmla="*/ 35314 w 228600"/>
                <a:gd name="connsiteY8" fmla="*/ 120412 h 228600"/>
                <a:gd name="connsiteX9" fmla="*/ 119979 w 228600"/>
                <a:gd name="connsiteY9" fmla="*/ 202220 h 228600"/>
                <a:gd name="connsiteX10" fmla="*/ 201786 w 228600"/>
                <a:gd name="connsiteY10" fmla="*/ 117555 h 228600"/>
                <a:gd name="connsiteX11" fmla="*/ 119979 w 228600"/>
                <a:gd name="connsiteY11" fmla="*/ 35747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8600" h="228600">
                  <a:moveTo>
                    <a:pt x="117121" y="225104"/>
                  </a:moveTo>
                  <a:lnTo>
                    <a:pt x="117121" y="225104"/>
                  </a:lnTo>
                  <a:cubicBezTo>
                    <a:pt x="57210" y="225926"/>
                    <a:pt x="7976" y="178024"/>
                    <a:pt x="7154" y="118112"/>
                  </a:cubicBezTo>
                  <a:cubicBezTo>
                    <a:pt x="6732" y="87310"/>
                    <a:pt x="19424" y="57780"/>
                    <a:pt x="42064" y="36890"/>
                  </a:cubicBezTo>
                  <a:cubicBezTo>
                    <a:pt x="86605" y="-4743"/>
                    <a:pt x="156464" y="-2386"/>
                    <a:pt x="198097" y="42155"/>
                  </a:cubicBezTo>
                  <a:cubicBezTo>
                    <a:pt x="216499" y="61842"/>
                    <a:pt x="227064" y="87580"/>
                    <a:pt x="227802" y="114519"/>
                  </a:cubicBezTo>
                  <a:cubicBezTo>
                    <a:pt x="227284" y="175378"/>
                    <a:pt x="178075" y="224586"/>
                    <a:pt x="117216" y="225104"/>
                  </a:cubicBezTo>
                  <a:close/>
                  <a:moveTo>
                    <a:pt x="117121" y="35747"/>
                  </a:moveTo>
                  <a:cubicBezTo>
                    <a:pt x="71151" y="36536"/>
                    <a:pt x="34525" y="74442"/>
                    <a:pt x="35314" y="120412"/>
                  </a:cubicBezTo>
                  <a:cubicBezTo>
                    <a:pt x="36103" y="166382"/>
                    <a:pt x="74009" y="203009"/>
                    <a:pt x="119979" y="202220"/>
                  </a:cubicBezTo>
                  <a:cubicBezTo>
                    <a:pt x="165949" y="201430"/>
                    <a:pt x="202575" y="163525"/>
                    <a:pt x="201786" y="117555"/>
                  </a:cubicBezTo>
                  <a:cubicBezTo>
                    <a:pt x="201016" y="72696"/>
                    <a:pt x="164837" y="36517"/>
                    <a:pt x="119979" y="35747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520">
              <a:extLst>
                <a:ext uri="{FF2B5EF4-FFF2-40B4-BE49-F238E27FC236}">
                  <a16:creationId xmlns:a16="http://schemas.microsoft.com/office/drawing/2014/main" id="{C860AFEB-0CE0-EA4F-A00E-8923E1F9073F}"/>
                </a:ext>
              </a:extLst>
            </p:cNvPr>
            <p:cNvSpPr/>
            <p:nvPr/>
          </p:nvSpPr>
          <p:spPr>
            <a:xfrm>
              <a:off x="5325904" y="2849594"/>
              <a:ext cx="266700" cy="542925"/>
            </a:xfrm>
            <a:custGeom>
              <a:avLst/>
              <a:gdLst>
                <a:gd name="connsiteX0" fmla="*/ 65246 w 266700"/>
                <a:gd name="connsiteY0" fmla="*/ 539115 h 542925"/>
                <a:gd name="connsiteX1" fmla="*/ 8096 w 266700"/>
                <a:gd name="connsiteY1" fmla="*/ 481965 h 542925"/>
                <a:gd name="connsiteX2" fmla="*/ 8096 w 266700"/>
                <a:gd name="connsiteY2" fmla="*/ 281940 h 542925"/>
                <a:gd name="connsiteX3" fmla="*/ 36671 w 266700"/>
                <a:gd name="connsiteY3" fmla="*/ 281940 h 542925"/>
                <a:gd name="connsiteX4" fmla="*/ 36671 w 266700"/>
                <a:gd name="connsiteY4" fmla="*/ 481965 h 542925"/>
                <a:gd name="connsiteX5" fmla="*/ 64650 w 266700"/>
                <a:gd name="connsiteY5" fmla="*/ 511124 h 542925"/>
                <a:gd name="connsiteX6" fmla="*/ 90106 w 266700"/>
                <a:gd name="connsiteY6" fmla="*/ 496634 h 542925"/>
                <a:gd name="connsiteX7" fmla="*/ 97822 w 266700"/>
                <a:gd name="connsiteY7" fmla="*/ 484346 h 542925"/>
                <a:gd name="connsiteX8" fmla="*/ 114300 w 266700"/>
                <a:gd name="connsiteY8" fmla="*/ 484346 h 542925"/>
                <a:gd name="connsiteX9" fmla="*/ 118586 w 266700"/>
                <a:gd name="connsiteY9" fmla="*/ 490157 h 542925"/>
                <a:gd name="connsiteX10" fmla="*/ 122873 w 266700"/>
                <a:gd name="connsiteY10" fmla="*/ 496443 h 542925"/>
                <a:gd name="connsiteX11" fmla="*/ 148876 w 266700"/>
                <a:gd name="connsiteY11" fmla="*/ 510254 h 542925"/>
                <a:gd name="connsiteX12" fmla="*/ 176215 w 266700"/>
                <a:gd name="connsiteY12" fmla="*/ 480495 h 542925"/>
                <a:gd name="connsiteX13" fmla="*/ 176213 w 266700"/>
                <a:gd name="connsiteY13" fmla="*/ 480441 h 542925"/>
                <a:gd name="connsiteX14" fmla="*/ 176213 w 266700"/>
                <a:gd name="connsiteY14" fmla="*/ 287655 h 542925"/>
                <a:gd name="connsiteX15" fmla="*/ 207073 w 266700"/>
                <a:gd name="connsiteY15" fmla="*/ 255842 h 542925"/>
                <a:gd name="connsiteX16" fmla="*/ 234410 w 266700"/>
                <a:gd name="connsiteY16" fmla="*/ 228314 h 542925"/>
                <a:gd name="connsiteX17" fmla="*/ 234410 w 266700"/>
                <a:gd name="connsiteY17" fmla="*/ 63532 h 542925"/>
                <a:gd name="connsiteX18" fmla="*/ 206597 w 266700"/>
                <a:gd name="connsiteY18" fmla="*/ 35814 h 542925"/>
                <a:gd name="connsiteX19" fmla="*/ 189833 w 266700"/>
                <a:gd name="connsiteY19" fmla="*/ 35814 h 542925"/>
                <a:gd name="connsiteX20" fmla="*/ 157258 w 266700"/>
                <a:gd name="connsiteY20" fmla="*/ 35814 h 542925"/>
                <a:gd name="connsiteX21" fmla="*/ 118205 w 266700"/>
                <a:gd name="connsiteY21" fmla="*/ 93631 h 542925"/>
                <a:gd name="connsiteX22" fmla="*/ 106204 w 266700"/>
                <a:gd name="connsiteY22" fmla="*/ 112681 h 542925"/>
                <a:gd name="connsiteX23" fmla="*/ 93821 w 266700"/>
                <a:gd name="connsiteY23" fmla="*/ 93631 h 542925"/>
                <a:gd name="connsiteX24" fmla="*/ 54769 w 266700"/>
                <a:gd name="connsiteY24" fmla="*/ 35719 h 542925"/>
                <a:gd name="connsiteX25" fmla="*/ 7144 w 266700"/>
                <a:gd name="connsiteY25" fmla="*/ 35719 h 542925"/>
                <a:gd name="connsiteX26" fmla="*/ 7144 w 266700"/>
                <a:gd name="connsiteY26" fmla="*/ 7144 h 542925"/>
                <a:gd name="connsiteX27" fmla="*/ 56674 w 266700"/>
                <a:gd name="connsiteY27" fmla="*/ 7144 h 542925"/>
                <a:gd name="connsiteX28" fmla="*/ 75724 w 266700"/>
                <a:gd name="connsiteY28" fmla="*/ 16669 h 542925"/>
                <a:gd name="connsiteX29" fmla="*/ 105823 w 266700"/>
                <a:gd name="connsiteY29" fmla="*/ 59912 h 542925"/>
                <a:gd name="connsiteX30" fmla="*/ 135731 w 266700"/>
                <a:gd name="connsiteY30" fmla="*/ 17050 h 542925"/>
                <a:gd name="connsiteX31" fmla="*/ 155734 w 266700"/>
                <a:gd name="connsiteY31" fmla="*/ 7525 h 542925"/>
                <a:gd name="connsiteX32" fmla="*/ 189928 w 266700"/>
                <a:gd name="connsiteY32" fmla="*/ 7525 h 542925"/>
                <a:gd name="connsiteX33" fmla="*/ 206597 w 266700"/>
                <a:gd name="connsiteY33" fmla="*/ 7525 h 542925"/>
                <a:gd name="connsiteX34" fmla="*/ 262795 w 266700"/>
                <a:gd name="connsiteY34" fmla="*/ 63627 h 542925"/>
                <a:gd name="connsiteX35" fmla="*/ 262795 w 266700"/>
                <a:gd name="connsiteY35" fmla="*/ 228314 h 542925"/>
                <a:gd name="connsiteX36" fmla="*/ 207550 w 266700"/>
                <a:gd name="connsiteY36" fmla="*/ 284417 h 542925"/>
                <a:gd name="connsiteX37" fmla="*/ 204597 w 266700"/>
                <a:gd name="connsiteY37" fmla="*/ 284417 h 542925"/>
                <a:gd name="connsiteX38" fmla="*/ 204597 w 266700"/>
                <a:gd name="connsiteY38" fmla="*/ 479489 h 542925"/>
                <a:gd name="connsiteX39" fmla="*/ 151162 w 266700"/>
                <a:gd name="connsiteY39" fmla="*/ 538544 h 542925"/>
                <a:gd name="connsiteX40" fmla="*/ 106299 w 266700"/>
                <a:gd name="connsiteY40" fmla="*/ 521780 h 542925"/>
                <a:gd name="connsiteX41" fmla="*/ 79248 w 266700"/>
                <a:gd name="connsiteY41" fmla="*/ 537305 h 542925"/>
                <a:gd name="connsiteX42" fmla="*/ 65246 w 266700"/>
                <a:gd name="connsiteY42" fmla="*/ 539115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66700" h="542925">
                  <a:moveTo>
                    <a:pt x="65246" y="539115"/>
                  </a:moveTo>
                  <a:cubicBezTo>
                    <a:pt x="33683" y="539115"/>
                    <a:pt x="8096" y="513528"/>
                    <a:pt x="8096" y="481965"/>
                  </a:cubicBezTo>
                  <a:lnTo>
                    <a:pt x="8096" y="281940"/>
                  </a:lnTo>
                  <a:lnTo>
                    <a:pt x="36671" y="281940"/>
                  </a:lnTo>
                  <a:lnTo>
                    <a:pt x="36671" y="481965"/>
                  </a:lnTo>
                  <a:cubicBezTo>
                    <a:pt x="36345" y="497743"/>
                    <a:pt x="48872" y="510798"/>
                    <a:pt x="64650" y="511124"/>
                  </a:cubicBezTo>
                  <a:cubicBezTo>
                    <a:pt x="75154" y="511341"/>
                    <a:pt x="84930" y="505776"/>
                    <a:pt x="90106" y="496634"/>
                  </a:cubicBezTo>
                  <a:lnTo>
                    <a:pt x="97822" y="484346"/>
                  </a:lnTo>
                  <a:lnTo>
                    <a:pt x="114300" y="484346"/>
                  </a:lnTo>
                  <a:lnTo>
                    <a:pt x="118586" y="490157"/>
                  </a:lnTo>
                  <a:cubicBezTo>
                    <a:pt x="120015" y="492157"/>
                    <a:pt x="121444" y="494348"/>
                    <a:pt x="122873" y="496443"/>
                  </a:cubicBezTo>
                  <a:cubicBezTo>
                    <a:pt x="128091" y="505738"/>
                    <a:pt x="138252" y="511135"/>
                    <a:pt x="148876" y="510254"/>
                  </a:cubicBezTo>
                  <a:cubicBezTo>
                    <a:pt x="164643" y="509586"/>
                    <a:pt x="176883" y="496262"/>
                    <a:pt x="176215" y="480495"/>
                  </a:cubicBezTo>
                  <a:cubicBezTo>
                    <a:pt x="176214" y="480477"/>
                    <a:pt x="176213" y="480459"/>
                    <a:pt x="176213" y="480441"/>
                  </a:cubicBezTo>
                  <a:lnTo>
                    <a:pt x="176213" y="287655"/>
                  </a:lnTo>
                  <a:cubicBezTo>
                    <a:pt x="176213" y="262890"/>
                    <a:pt x="182309" y="256699"/>
                    <a:pt x="207073" y="255842"/>
                  </a:cubicBezTo>
                  <a:cubicBezTo>
                    <a:pt x="222159" y="255634"/>
                    <a:pt x="234308" y="243401"/>
                    <a:pt x="234410" y="228314"/>
                  </a:cubicBezTo>
                  <a:lnTo>
                    <a:pt x="234410" y="63532"/>
                  </a:lnTo>
                  <a:cubicBezTo>
                    <a:pt x="233961" y="48377"/>
                    <a:pt x="221753" y="36212"/>
                    <a:pt x="206597" y="35814"/>
                  </a:cubicBezTo>
                  <a:lnTo>
                    <a:pt x="189833" y="35814"/>
                  </a:lnTo>
                  <a:cubicBezTo>
                    <a:pt x="178975" y="35814"/>
                    <a:pt x="168021" y="35814"/>
                    <a:pt x="157258" y="35814"/>
                  </a:cubicBezTo>
                  <a:cubicBezTo>
                    <a:pt x="147733" y="47339"/>
                    <a:pt x="125921" y="81344"/>
                    <a:pt x="118205" y="93631"/>
                  </a:cubicBezTo>
                  <a:lnTo>
                    <a:pt x="106204" y="112681"/>
                  </a:lnTo>
                  <a:lnTo>
                    <a:pt x="93821" y="93631"/>
                  </a:lnTo>
                  <a:cubicBezTo>
                    <a:pt x="86011" y="81248"/>
                    <a:pt x="63913" y="47149"/>
                    <a:pt x="54769" y="35719"/>
                  </a:cubicBezTo>
                  <a:lnTo>
                    <a:pt x="7144" y="35719"/>
                  </a:lnTo>
                  <a:lnTo>
                    <a:pt x="7144" y="7144"/>
                  </a:lnTo>
                  <a:lnTo>
                    <a:pt x="56674" y="7144"/>
                  </a:lnTo>
                  <a:cubicBezTo>
                    <a:pt x="64014" y="7745"/>
                    <a:pt x="70838" y="11157"/>
                    <a:pt x="75724" y="16669"/>
                  </a:cubicBezTo>
                  <a:cubicBezTo>
                    <a:pt x="83058" y="25527"/>
                    <a:pt x="96202" y="45244"/>
                    <a:pt x="105823" y="59912"/>
                  </a:cubicBezTo>
                  <a:cubicBezTo>
                    <a:pt x="115045" y="45117"/>
                    <a:pt x="125028" y="30811"/>
                    <a:pt x="135731" y="17050"/>
                  </a:cubicBezTo>
                  <a:cubicBezTo>
                    <a:pt x="140763" y="11204"/>
                    <a:pt x="148024" y="7746"/>
                    <a:pt x="155734" y="7525"/>
                  </a:cubicBezTo>
                  <a:cubicBezTo>
                    <a:pt x="167164" y="7525"/>
                    <a:pt x="178784" y="7525"/>
                    <a:pt x="189928" y="7525"/>
                  </a:cubicBezTo>
                  <a:lnTo>
                    <a:pt x="206597" y="7525"/>
                  </a:lnTo>
                  <a:cubicBezTo>
                    <a:pt x="237384" y="8033"/>
                    <a:pt x="262234" y="32841"/>
                    <a:pt x="262795" y="63627"/>
                  </a:cubicBezTo>
                  <a:lnTo>
                    <a:pt x="262795" y="228314"/>
                  </a:lnTo>
                  <a:cubicBezTo>
                    <a:pt x="262697" y="258925"/>
                    <a:pt x="238155" y="283847"/>
                    <a:pt x="207550" y="284417"/>
                  </a:cubicBezTo>
                  <a:lnTo>
                    <a:pt x="204597" y="284417"/>
                  </a:lnTo>
                  <a:lnTo>
                    <a:pt x="204597" y="479489"/>
                  </a:lnTo>
                  <a:cubicBezTo>
                    <a:pt x="206002" y="510499"/>
                    <a:pt x="182158" y="536851"/>
                    <a:pt x="151162" y="538544"/>
                  </a:cubicBezTo>
                  <a:cubicBezTo>
                    <a:pt x="134450" y="539967"/>
                    <a:pt x="117982" y="533814"/>
                    <a:pt x="106299" y="521780"/>
                  </a:cubicBezTo>
                  <a:cubicBezTo>
                    <a:pt x="98896" y="529363"/>
                    <a:pt x="89530" y="534738"/>
                    <a:pt x="79248" y="537305"/>
                  </a:cubicBezTo>
                  <a:cubicBezTo>
                    <a:pt x="74669" y="538463"/>
                    <a:pt x="69969" y="539070"/>
                    <a:pt x="65246" y="53911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521">
              <a:extLst>
                <a:ext uri="{FF2B5EF4-FFF2-40B4-BE49-F238E27FC236}">
                  <a16:creationId xmlns:a16="http://schemas.microsoft.com/office/drawing/2014/main" id="{16A54D5A-46D1-6D40-9964-38204B3000B6}"/>
                </a:ext>
              </a:extLst>
            </p:cNvPr>
            <p:cNvSpPr/>
            <p:nvPr/>
          </p:nvSpPr>
          <p:spPr>
            <a:xfrm>
              <a:off x="5284946" y="2849689"/>
              <a:ext cx="47625" cy="47625"/>
            </a:xfrm>
            <a:custGeom>
              <a:avLst/>
              <a:gdLst>
                <a:gd name="connsiteX0" fmla="*/ 27146 w 47625"/>
                <a:gd name="connsiteY0" fmla="*/ 44102 h 47625"/>
                <a:gd name="connsiteX1" fmla="*/ 7144 w 47625"/>
                <a:gd name="connsiteY1" fmla="*/ 23718 h 47625"/>
                <a:gd name="connsiteX2" fmla="*/ 48292 w 47625"/>
                <a:gd name="connsiteY2" fmla="*/ 7145 h 47625"/>
                <a:gd name="connsiteX3" fmla="*/ 48292 w 47625"/>
                <a:gd name="connsiteY3" fmla="*/ 35720 h 47625"/>
                <a:gd name="connsiteX4" fmla="*/ 27146 w 47625"/>
                <a:gd name="connsiteY4" fmla="*/ 44102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7625" h="47625">
                  <a:moveTo>
                    <a:pt x="27146" y="44102"/>
                  </a:moveTo>
                  <a:lnTo>
                    <a:pt x="7144" y="23718"/>
                  </a:lnTo>
                  <a:cubicBezTo>
                    <a:pt x="18157" y="13013"/>
                    <a:pt x="32933" y="7061"/>
                    <a:pt x="48292" y="7145"/>
                  </a:cubicBezTo>
                  <a:lnTo>
                    <a:pt x="48292" y="35720"/>
                  </a:lnTo>
                  <a:cubicBezTo>
                    <a:pt x="40387" y="35467"/>
                    <a:pt x="32731" y="38502"/>
                    <a:pt x="27146" y="4410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522">
              <a:extLst>
                <a:ext uri="{FF2B5EF4-FFF2-40B4-BE49-F238E27FC236}">
                  <a16:creationId xmlns:a16="http://schemas.microsoft.com/office/drawing/2014/main" id="{72825853-9DFE-C942-990C-C879A6983BB1}"/>
                </a:ext>
              </a:extLst>
            </p:cNvPr>
            <p:cNvSpPr/>
            <p:nvPr/>
          </p:nvSpPr>
          <p:spPr>
            <a:xfrm>
              <a:off x="5338953" y="2650808"/>
              <a:ext cx="180975" cy="180975"/>
            </a:xfrm>
            <a:custGeom>
              <a:avLst/>
              <a:gdLst>
                <a:gd name="connsiteX0" fmla="*/ 92869 w 180975"/>
                <a:gd name="connsiteY0" fmla="*/ 178594 h 180975"/>
                <a:gd name="connsiteX1" fmla="*/ 92869 w 180975"/>
                <a:gd name="connsiteY1" fmla="*/ 178594 h 180975"/>
                <a:gd name="connsiteX2" fmla="*/ 7144 w 180975"/>
                <a:gd name="connsiteY2" fmla="*/ 92869 h 180975"/>
                <a:gd name="connsiteX3" fmla="*/ 92869 w 180975"/>
                <a:gd name="connsiteY3" fmla="*/ 7144 h 180975"/>
                <a:gd name="connsiteX4" fmla="*/ 178594 w 180975"/>
                <a:gd name="connsiteY4" fmla="*/ 92869 h 180975"/>
                <a:gd name="connsiteX5" fmla="*/ 92869 w 180975"/>
                <a:gd name="connsiteY5" fmla="*/ 178594 h 180975"/>
                <a:gd name="connsiteX6" fmla="*/ 92869 w 180975"/>
                <a:gd name="connsiteY6" fmla="*/ 35719 h 180975"/>
                <a:gd name="connsiteX7" fmla="*/ 35719 w 180975"/>
                <a:gd name="connsiteY7" fmla="*/ 92869 h 180975"/>
                <a:gd name="connsiteX8" fmla="*/ 92869 w 180975"/>
                <a:gd name="connsiteY8" fmla="*/ 150019 h 180975"/>
                <a:gd name="connsiteX9" fmla="*/ 150019 w 180975"/>
                <a:gd name="connsiteY9" fmla="*/ 92869 h 180975"/>
                <a:gd name="connsiteX10" fmla="*/ 93348 w 180975"/>
                <a:gd name="connsiteY10" fmla="*/ 35244 h 180975"/>
                <a:gd name="connsiteX11" fmla="*/ 93154 w 180975"/>
                <a:gd name="connsiteY11" fmla="*/ 35242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5" h="180975">
                  <a:moveTo>
                    <a:pt x="92869" y="178594"/>
                  </a:moveTo>
                  <a:lnTo>
                    <a:pt x="92869" y="178594"/>
                  </a:lnTo>
                  <a:cubicBezTo>
                    <a:pt x="45524" y="178594"/>
                    <a:pt x="7144" y="140213"/>
                    <a:pt x="7144" y="92869"/>
                  </a:cubicBezTo>
                  <a:cubicBezTo>
                    <a:pt x="7144" y="45524"/>
                    <a:pt x="45524" y="7144"/>
                    <a:pt x="92869" y="7144"/>
                  </a:cubicBezTo>
                  <a:cubicBezTo>
                    <a:pt x="140213" y="7144"/>
                    <a:pt x="178594" y="45524"/>
                    <a:pt x="178594" y="92869"/>
                  </a:cubicBezTo>
                  <a:cubicBezTo>
                    <a:pt x="178282" y="140084"/>
                    <a:pt x="140084" y="178282"/>
                    <a:pt x="92869" y="178594"/>
                  </a:cubicBezTo>
                  <a:close/>
                  <a:moveTo>
                    <a:pt x="92869" y="35719"/>
                  </a:moveTo>
                  <a:cubicBezTo>
                    <a:pt x="61306" y="35719"/>
                    <a:pt x="35719" y="61306"/>
                    <a:pt x="35719" y="92869"/>
                  </a:cubicBezTo>
                  <a:cubicBezTo>
                    <a:pt x="35719" y="124432"/>
                    <a:pt x="61306" y="150019"/>
                    <a:pt x="92869" y="150019"/>
                  </a:cubicBezTo>
                  <a:cubicBezTo>
                    <a:pt x="124432" y="150019"/>
                    <a:pt x="150019" y="124432"/>
                    <a:pt x="150019" y="92869"/>
                  </a:cubicBezTo>
                  <a:cubicBezTo>
                    <a:pt x="150282" y="61307"/>
                    <a:pt x="124910" y="35507"/>
                    <a:pt x="93348" y="35244"/>
                  </a:cubicBezTo>
                  <a:cubicBezTo>
                    <a:pt x="93283" y="35243"/>
                    <a:pt x="93219" y="35243"/>
                    <a:pt x="93154" y="3524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523">
              <a:extLst>
                <a:ext uri="{FF2B5EF4-FFF2-40B4-BE49-F238E27FC236}">
                  <a16:creationId xmlns:a16="http://schemas.microsoft.com/office/drawing/2014/main" id="{56FCD43A-4B89-944C-AEEE-D5FBD91CAE5D}"/>
                </a:ext>
              </a:extLst>
            </p:cNvPr>
            <p:cNvSpPr/>
            <p:nvPr/>
          </p:nvSpPr>
          <p:spPr>
            <a:xfrm>
              <a:off x="4717256" y="2849689"/>
              <a:ext cx="266700" cy="542925"/>
            </a:xfrm>
            <a:custGeom>
              <a:avLst/>
              <a:gdLst>
                <a:gd name="connsiteX0" fmla="*/ 205073 w 266700"/>
                <a:gd name="connsiteY0" fmla="*/ 539020 h 542925"/>
                <a:gd name="connsiteX1" fmla="*/ 164020 w 266700"/>
                <a:gd name="connsiteY1" fmla="*/ 522161 h 542925"/>
                <a:gd name="connsiteX2" fmla="*/ 118300 w 266700"/>
                <a:gd name="connsiteY2" fmla="*/ 538925 h 542925"/>
                <a:gd name="connsiteX3" fmla="*/ 64960 w 266700"/>
                <a:gd name="connsiteY3" fmla="*/ 479012 h 542925"/>
                <a:gd name="connsiteX4" fmla="*/ 64960 w 266700"/>
                <a:gd name="connsiteY4" fmla="*/ 284036 h 542925"/>
                <a:gd name="connsiteX5" fmla="*/ 61722 w 266700"/>
                <a:gd name="connsiteY5" fmla="*/ 284036 h 542925"/>
                <a:gd name="connsiteX6" fmla="*/ 7144 w 266700"/>
                <a:gd name="connsiteY6" fmla="*/ 228219 h 542925"/>
                <a:gd name="connsiteX7" fmla="*/ 7144 w 266700"/>
                <a:gd name="connsiteY7" fmla="*/ 63437 h 542925"/>
                <a:gd name="connsiteX8" fmla="*/ 63151 w 266700"/>
                <a:gd name="connsiteY8" fmla="*/ 7144 h 542925"/>
                <a:gd name="connsiteX9" fmla="*/ 80010 w 266700"/>
                <a:gd name="connsiteY9" fmla="*/ 7144 h 542925"/>
                <a:gd name="connsiteX10" fmla="*/ 114205 w 266700"/>
                <a:gd name="connsiteY10" fmla="*/ 7144 h 542925"/>
                <a:gd name="connsiteX11" fmla="*/ 134112 w 266700"/>
                <a:gd name="connsiteY11" fmla="*/ 16669 h 542925"/>
                <a:gd name="connsiteX12" fmla="*/ 164116 w 266700"/>
                <a:gd name="connsiteY12" fmla="*/ 59627 h 542925"/>
                <a:gd name="connsiteX13" fmla="*/ 193643 w 266700"/>
                <a:gd name="connsiteY13" fmla="*/ 17050 h 542925"/>
                <a:gd name="connsiteX14" fmla="*/ 213170 w 266700"/>
                <a:gd name="connsiteY14" fmla="*/ 7525 h 542925"/>
                <a:gd name="connsiteX15" fmla="*/ 262700 w 266700"/>
                <a:gd name="connsiteY15" fmla="*/ 7525 h 542925"/>
                <a:gd name="connsiteX16" fmla="*/ 262700 w 266700"/>
                <a:gd name="connsiteY16" fmla="*/ 36100 h 542925"/>
                <a:gd name="connsiteX17" fmla="*/ 215075 w 266700"/>
                <a:gd name="connsiteY17" fmla="*/ 36100 h 542925"/>
                <a:gd name="connsiteX18" fmla="*/ 175736 w 266700"/>
                <a:gd name="connsiteY18" fmla="*/ 93536 h 542925"/>
                <a:gd name="connsiteX19" fmla="*/ 163544 w 266700"/>
                <a:gd name="connsiteY19" fmla="*/ 112586 h 542925"/>
                <a:gd name="connsiteX20" fmla="*/ 151543 w 266700"/>
                <a:gd name="connsiteY20" fmla="*/ 93536 h 542925"/>
                <a:gd name="connsiteX21" fmla="*/ 112490 w 266700"/>
                <a:gd name="connsiteY21" fmla="*/ 35719 h 542925"/>
                <a:gd name="connsiteX22" fmla="*/ 79820 w 266700"/>
                <a:gd name="connsiteY22" fmla="*/ 35719 h 542925"/>
                <a:gd name="connsiteX23" fmla="*/ 62960 w 266700"/>
                <a:gd name="connsiteY23" fmla="*/ 35719 h 542925"/>
                <a:gd name="connsiteX24" fmla="*/ 35719 w 266700"/>
                <a:gd name="connsiteY24" fmla="*/ 63532 h 542925"/>
                <a:gd name="connsiteX25" fmla="*/ 35719 w 266700"/>
                <a:gd name="connsiteY25" fmla="*/ 228219 h 542925"/>
                <a:gd name="connsiteX26" fmla="*/ 62389 w 266700"/>
                <a:gd name="connsiteY26" fmla="*/ 255461 h 542925"/>
                <a:gd name="connsiteX27" fmla="*/ 93536 w 266700"/>
                <a:gd name="connsiteY27" fmla="*/ 287274 h 542925"/>
                <a:gd name="connsiteX28" fmla="*/ 93536 w 266700"/>
                <a:gd name="connsiteY28" fmla="*/ 479203 h 542925"/>
                <a:gd name="connsiteX29" fmla="*/ 119964 w 266700"/>
                <a:gd name="connsiteY29" fmla="*/ 509774 h 542925"/>
                <a:gd name="connsiteX30" fmla="*/ 120015 w 266700"/>
                <a:gd name="connsiteY30" fmla="*/ 509778 h 542925"/>
                <a:gd name="connsiteX31" fmla="*/ 121444 w 266700"/>
                <a:gd name="connsiteY31" fmla="*/ 509778 h 542925"/>
                <a:gd name="connsiteX32" fmla="*/ 147542 w 266700"/>
                <a:gd name="connsiteY32" fmla="*/ 496443 h 542925"/>
                <a:gd name="connsiteX33" fmla="*/ 152114 w 266700"/>
                <a:gd name="connsiteY33" fmla="*/ 489585 h 542925"/>
                <a:gd name="connsiteX34" fmla="*/ 156400 w 266700"/>
                <a:gd name="connsiteY34" fmla="*/ 483775 h 542925"/>
                <a:gd name="connsiteX35" fmla="*/ 172879 w 266700"/>
                <a:gd name="connsiteY35" fmla="*/ 483775 h 542925"/>
                <a:gd name="connsiteX36" fmla="*/ 180403 w 266700"/>
                <a:gd name="connsiteY36" fmla="*/ 495776 h 542925"/>
                <a:gd name="connsiteX37" fmla="*/ 219196 w 266700"/>
                <a:gd name="connsiteY37" fmla="*/ 507101 h 542925"/>
                <a:gd name="connsiteX38" fmla="*/ 234029 w 266700"/>
                <a:gd name="connsiteY38" fmla="*/ 481394 h 542925"/>
                <a:gd name="connsiteX39" fmla="*/ 234029 w 266700"/>
                <a:gd name="connsiteY39" fmla="*/ 281369 h 542925"/>
                <a:gd name="connsiteX40" fmla="*/ 262604 w 266700"/>
                <a:gd name="connsiteY40" fmla="*/ 281369 h 542925"/>
                <a:gd name="connsiteX41" fmla="*/ 262604 w 266700"/>
                <a:gd name="connsiteY41" fmla="*/ 481394 h 542925"/>
                <a:gd name="connsiteX42" fmla="*/ 205454 w 266700"/>
                <a:gd name="connsiteY42" fmla="*/ 538544 h 542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66700" h="542925">
                  <a:moveTo>
                    <a:pt x="205073" y="539020"/>
                  </a:moveTo>
                  <a:cubicBezTo>
                    <a:pt x="189677" y="539160"/>
                    <a:pt x="174875" y="533081"/>
                    <a:pt x="164020" y="522161"/>
                  </a:cubicBezTo>
                  <a:cubicBezTo>
                    <a:pt x="152142" y="534440"/>
                    <a:pt x="135301" y="540615"/>
                    <a:pt x="118300" y="538925"/>
                  </a:cubicBezTo>
                  <a:cubicBezTo>
                    <a:pt x="87137" y="536882"/>
                    <a:pt x="63384" y="510203"/>
                    <a:pt x="64960" y="479012"/>
                  </a:cubicBezTo>
                  <a:lnTo>
                    <a:pt x="64960" y="284036"/>
                  </a:lnTo>
                  <a:lnTo>
                    <a:pt x="61722" y="284036"/>
                  </a:lnTo>
                  <a:cubicBezTo>
                    <a:pt x="31488" y="283115"/>
                    <a:pt x="7386" y="258466"/>
                    <a:pt x="7144" y="228219"/>
                  </a:cubicBezTo>
                  <a:lnTo>
                    <a:pt x="7144" y="63437"/>
                  </a:lnTo>
                  <a:cubicBezTo>
                    <a:pt x="7600" y="32648"/>
                    <a:pt x="32365" y="7756"/>
                    <a:pt x="63151" y="7144"/>
                  </a:cubicBezTo>
                  <a:lnTo>
                    <a:pt x="80010" y="7144"/>
                  </a:lnTo>
                  <a:cubicBezTo>
                    <a:pt x="91154" y="7144"/>
                    <a:pt x="102679" y="7144"/>
                    <a:pt x="114205" y="7144"/>
                  </a:cubicBezTo>
                  <a:cubicBezTo>
                    <a:pt x="121876" y="7415"/>
                    <a:pt x="129088" y="10866"/>
                    <a:pt x="134112" y="16669"/>
                  </a:cubicBezTo>
                  <a:cubicBezTo>
                    <a:pt x="141637" y="25527"/>
                    <a:pt x="154591" y="45244"/>
                    <a:pt x="164116" y="59627"/>
                  </a:cubicBezTo>
                  <a:cubicBezTo>
                    <a:pt x="173641" y="44958"/>
                    <a:pt x="186690" y="25527"/>
                    <a:pt x="193643" y="17050"/>
                  </a:cubicBezTo>
                  <a:cubicBezTo>
                    <a:pt x="198711" y="11517"/>
                    <a:pt x="205689" y="8112"/>
                    <a:pt x="213170" y="7525"/>
                  </a:cubicBezTo>
                  <a:lnTo>
                    <a:pt x="262700" y="7525"/>
                  </a:lnTo>
                  <a:lnTo>
                    <a:pt x="262700" y="36100"/>
                  </a:lnTo>
                  <a:lnTo>
                    <a:pt x="215075" y="36100"/>
                  </a:lnTo>
                  <a:cubicBezTo>
                    <a:pt x="206407" y="45911"/>
                    <a:pt x="183737" y="81058"/>
                    <a:pt x="175736" y="93536"/>
                  </a:cubicBezTo>
                  <a:lnTo>
                    <a:pt x="163544" y="112586"/>
                  </a:lnTo>
                  <a:lnTo>
                    <a:pt x="151543" y="93536"/>
                  </a:lnTo>
                  <a:cubicBezTo>
                    <a:pt x="143827" y="81248"/>
                    <a:pt x="122111" y="47244"/>
                    <a:pt x="112490" y="35719"/>
                  </a:cubicBezTo>
                  <a:cubicBezTo>
                    <a:pt x="101632" y="35719"/>
                    <a:pt x="90773" y="35719"/>
                    <a:pt x="79820" y="35719"/>
                  </a:cubicBezTo>
                  <a:lnTo>
                    <a:pt x="62960" y="35719"/>
                  </a:lnTo>
                  <a:cubicBezTo>
                    <a:pt x="47992" y="36413"/>
                    <a:pt x="36102" y="48552"/>
                    <a:pt x="35719" y="63532"/>
                  </a:cubicBezTo>
                  <a:lnTo>
                    <a:pt x="35719" y="228219"/>
                  </a:lnTo>
                  <a:cubicBezTo>
                    <a:pt x="35961" y="242942"/>
                    <a:pt x="47674" y="254906"/>
                    <a:pt x="62389" y="255461"/>
                  </a:cubicBezTo>
                  <a:cubicBezTo>
                    <a:pt x="87440" y="256318"/>
                    <a:pt x="93536" y="262509"/>
                    <a:pt x="93536" y="287274"/>
                  </a:cubicBezTo>
                  <a:lnTo>
                    <a:pt x="93536" y="479203"/>
                  </a:lnTo>
                  <a:cubicBezTo>
                    <a:pt x="92391" y="494943"/>
                    <a:pt x="104224" y="508630"/>
                    <a:pt x="119964" y="509774"/>
                  </a:cubicBezTo>
                  <a:cubicBezTo>
                    <a:pt x="119981" y="509776"/>
                    <a:pt x="119998" y="509777"/>
                    <a:pt x="120015" y="509778"/>
                  </a:cubicBezTo>
                  <a:lnTo>
                    <a:pt x="121444" y="509778"/>
                  </a:lnTo>
                  <a:cubicBezTo>
                    <a:pt x="131997" y="510790"/>
                    <a:pt x="142179" y="505588"/>
                    <a:pt x="147542" y="496443"/>
                  </a:cubicBezTo>
                  <a:cubicBezTo>
                    <a:pt x="149257" y="493776"/>
                    <a:pt x="150686" y="491585"/>
                    <a:pt x="152114" y="489585"/>
                  </a:cubicBezTo>
                  <a:lnTo>
                    <a:pt x="156400" y="483775"/>
                  </a:lnTo>
                  <a:lnTo>
                    <a:pt x="172879" y="483775"/>
                  </a:lnTo>
                  <a:lnTo>
                    <a:pt x="180403" y="495776"/>
                  </a:lnTo>
                  <a:cubicBezTo>
                    <a:pt x="187989" y="509616"/>
                    <a:pt x="205356" y="514686"/>
                    <a:pt x="219196" y="507101"/>
                  </a:cubicBezTo>
                  <a:cubicBezTo>
                    <a:pt x="228551" y="501973"/>
                    <a:pt x="234272" y="492060"/>
                    <a:pt x="234029" y="481394"/>
                  </a:cubicBezTo>
                  <a:lnTo>
                    <a:pt x="234029" y="281369"/>
                  </a:lnTo>
                  <a:lnTo>
                    <a:pt x="262604" y="281369"/>
                  </a:lnTo>
                  <a:lnTo>
                    <a:pt x="262604" y="481394"/>
                  </a:lnTo>
                  <a:cubicBezTo>
                    <a:pt x="262604" y="512957"/>
                    <a:pt x="237017" y="538544"/>
                    <a:pt x="205454" y="538544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524">
              <a:extLst>
                <a:ext uri="{FF2B5EF4-FFF2-40B4-BE49-F238E27FC236}">
                  <a16:creationId xmlns:a16="http://schemas.microsoft.com/office/drawing/2014/main" id="{8F32B330-4EF0-AB44-B10B-A81773554DCA}"/>
                </a:ext>
              </a:extLst>
            </p:cNvPr>
            <p:cNvSpPr/>
            <p:nvPr/>
          </p:nvSpPr>
          <p:spPr>
            <a:xfrm>
              <a:off x="4972526" y="2849689"/>
              <a:ext cx="47625" cy="47625"/>
            </a:xfrm>
            <a:custGeom>
              <a:avLst/>
              <a:gdLst>
                <a:gd name="connsiteX0" fmla="*/ 28099 w 47625"/>
                <a:gd name="connsiteY0" fmla="*/ 44102 h 47625"/>
                <a:gd name="connsiteX1" fmla="*/ 7144 w 47625"/>
                <a:gd name="connsiteY1" fmla="*/ 35720 h 47625"/>
                <a:gd name="connsiteX2" fmla="*/ 7144 w 47625"/>
                <a:gd name="connsiteY2" fmla="*/ 7145 h 47625"/>
                <a:gd name="connsiteX3" fmla="*/ 48292 w 47625"/>
                <a:gd name="connsiteY3" fmla="*/ 23718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25" h="47625">
                  <a:moveTo>
                    <a:pt x="28099" y="44102"/>
                  </a:moveTo>
                  <a:cubicBezTo>
                    <a:pt x="22471" y="38687"/>
                    <a:pt x="14953" y="35680"/>
                    <a:pt x="7144" y="35720"/>
                  </a:cubicBezTo>
                  <a:lnTo>
                    <a:pt x="7144" y="7145"/>
                  </a:lnTo>
                  <a:cubicBezTo>
                    <a:pt x="22502" y="7061"/>
                    <a:pt x="37279" y="13013"/>
                    <a:pt x="48292" y="2371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525">
              <a:extLst>
                <a:ext uri="{FF2B5EF4-FFF2-40B4-BE49-F238E27FC236}">
                  <a16:creationId xmlns:a16="http://schemas.microsoft.com/office/drawing/2014/main" id="{F70EA2C5-A55C-304D-84AF-1496FE9F1EDF}"/>
                </a:ext>
              </a:extLst>
            </p:cNvPr>
            <p:cNvSpPr/>
            <p:nvPr/>
          </p:nvSpPr>
          <p:spPr>
            <a:xfrm>
              <a:off x="4788122" y="2650808"/>
              <a:ext cx="180975" cy="180975"/>
            </a:xfrm>
            <a:custGeom>
              <a:avLst/>
              <a:gdLst>
                <a:gd name="connsiteX0" fmla="*/ 92869 w 180975"/>
                <a:gd name="connsiteY0" fmla="*/ 178594 h 180975"/>
                <a:gd name="connsiteX1" fmla="*/ 92869 w 180975"/>
                <a:gd name="connsiteY1" fmla="*/ 178594 h 180975"/>
                <a:gd name="connsiteX2" fmla="*/ 7144 w 180975"/>
                <a:gd name="connsiteY2" fmla="*/ 92869 h 180975"/>
                <a:gd name="connsiteX3" fmla="*/ 92869 w 180975"/>
                <a:gd name="connsiteY3" fmla="*/ 7144 h 180975"/>
                <a:gd name="connsiteX4" fmla="*/ 178594 w 180975"/>
                <a:gd name="connsiteY4" fmla="*/ 92869 h 180975"/>
                <a:gd name="connsiteX5" fmla="*/ 92869 w 180975"/>
                <a:gd name="connsiteY5" fmla="*/ 178594 h 180975"/>
                <a:gd name="connsiteX6" fmla="*/ 92869 w 180975"/>
                <a:gd name="connsiteY6" fmla="*/ 35719 h 180975"/>
                <a:gd name="connsiteX7" fmla="*/ 35719 w 180975"/>
                <a:gd name="connsiteY7" fmla="*/ 92869 h 180975"/>
                <a:gd name="connsiteX8" fmla="*/ 92869 w 180975"/>
                <a:gd name="connsiteY8" fmla="*/ 150019 h 180975"/>
                <a:gd name="connsiteX9" fmla="*/ 150019 w 180975"/>
                <a:gd name="connsiteY9" fmla="*/ 92869 h 180975"/>
                <a:gd name="connsiteX10" fmla="*/ 93348 w 180975"/>
                <a:gd name="connsiteY10" fmla="*/ 35243 h 180975"/>
                <a:gd name="connsiteX11" fmla="*/ 92488 w 180975"/>
                <a:gd name="connsiteY11" fmla="*/ 35242 h 180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0975" h="180975">
                  <a:moveTo>
                    <a:pt x="92869" y="178594"/>
                  </a:moveTo>
                  <a:lnTo>
                    <a:pt x="92869" y="178594"/>
                  </a:lnTo>
                  <a:cubicBezTo>
                    <a:pt x="45524" y="178594"/>
                    <a:pt x="7144" y="140213"/>
                    <a:pt x="7144" y="92869"/>
                  </a:cubicBezTo>
                  <a:cubicBezTo>
                    <a:pt x="7144" y="45524"/>
                    <a:pt x="45524" y="7144"/>
                    <a:pt x="92869" y="7144"/>
                  </a:cubicBezTo>
                  <a:cubicBezTo>
                    <a:pt x="140213" y="7144"/>
                    <a:pt x="178594" y="45524"/>
                    <a:pt x="178594" y="92869"/>
                  </a:cubicBezTo>
                  <a:cubicBezTo>
                    <a:pt x="178282" y="140084"/>
                    <a:pt x="140084" y="178282"/>
                    <a:pt x="92869" y="178594"/>
                  </a:cubicBezTo>
                  <a:close/>
                  <a:moveTo>
                    <a:pt x="92869" y="35719"/>
                  </a:moveTo>
                  <a:cubicBezTo>
                    <a:pt x="61306" y="35719"/>
                    <a:pt x="35719" y="61306"/>
                    <a:pt x="35719" y="92869"/>
                  </a:cubicBezTo>
                  <a:cubicBezTo>
                    <a:pt x="35719" y="124432"/>
                    <a:pt x="61306" y="150019"/>
                    <a:pt x="92869" y="150019"/>
                  </a:cubicBezTo>
                  <a:cubicBezTo>
                    <a:pt x="124432" y="150019"/>
                    <a:pt x="150019" y="124432"/>
                    <a:pt x="150019" y="92869"/>
                  </a:cubicBezTo>
                  <a:cubicBezTo>
                    <a:pt x="150282" y="61307"/>
                    <a:pt x="124910" y="35507"/>
                    <a:pt x="93348" y="35243"/>
                  </a:cubicBezTo>
                  <a:cubicBezTo>
                    <a:pt x="93061" y="35241"/>
                    <a:pt x="92775" y="35241"/>
                    <a:pt x="92488" y="3524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5" name="Graphic 8">
            <a:extLst>
              <a:ext uri="{FF2B5EF4-FFF2-40B4-BE49-F238E27FC236}">
                <a16:creationId xmlns:a16="http://schemas.microsoft.com/office/drawing/2014/main" id="{91912067-521D-2D42-A514-63804E1C1966}"/>
              </a:ext>
            </a:extLst>
          </p:cNvPr>
          <p:cNvGrpSpPr>
            <a:grpSpLocks noChangeAspect="1"/>
          </p:cNvGrpSpPr>
          <p:nvPr/>
        </p:nvGrpSpPr>
        <p:grpSpPr>
          <a:xfrm>
            <a:off x="7047042" y="1400971"/>
            <a:ext cx="1371600" cy="1371600"/>
            <a:chOff x="4365455" y="4247540"/>
            <a:chExt cx="1714500" cy="1714500"/>
          </a:xfrm>
        </p:grpSpPr>
        <p:grpSp>
          <p:nvGrpSpPr>
            <p:cNvPr id="26" name="Graphic 8">
              <a:extLst>
                <a:ext uri="{FF2B5EF4-FFF2-40B4-BE49-F238E27FC236}">
                  <a16:creationId xmlns:a16="http://schemas.microsoft.com/office/drawing/2014/main" id="{0B678967-6153-BE4E-AA06-072B993E61DC}"/>
                </a:ext>
              </a:extLst>
            </p:cNvPr>
            <p:cNvGrpSpPr/>
            <p:nvPr/>
          </p:nvGrpSpPr>
          <p:grpSpPr>
            <a:xfrm>
              <a:off x="4576338" y="4457471"/>
              <a:ext cx="1278826" cy="1278826"/>
              <a:chOff x="4576338" y="4457471"/>
              <a:chExt cx="1278826" cy="1278826"/>
            </a:xfrm>
            <a:solidFill>
              <a:schemeClr val="accent1"/>
            </a:solidFill>
          </p:grpSpPr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C36B24DD-6626-954D-8A3A-AD4CBF242BB4}"/>
                  </a:ext>
                </a:extLst>
              </p:cNvPr>
              <p:cNvSpPr/>
              <p:nvPr/>
            </p:nvSpPr>
            <p:spPr>
              <a:xfrm>
                <a:off x="4576338" y="4457471"/>
                <a:ext cx="1278826" cy="1278826"/>
              </a:xfrm>
              <a:custGeom>
                <a:avLst/>
                <a:gdLst>
                  <a:gd name="connsiteX0" fmla="*/ 639413 w 1278826"/>
                  <a:gd name="connsiteY0" fmla="*/ 1278827 h 1278826"/>
                  <a:gd name="connsiteX1" fmla="*/ 0 w 1278826"/>
                  <a:gd name="connsiteY1" fmla="*/ 639413 h 1278826"/>
                  <a:gd name="connsiteX2" fmla="*/ 639413 w 1278826"/>
                  <a:gd name="connsiteY2" fmla="*/ 0 h 1278826"/>
                  <a:gd name="connsiteX3" fmla="*/ 1278827 w 1278826"/>
                  <a:gd name="connsiteY3" fmla="*/ 639413 h 1278826"/>
                  <a:gd name="connsiteX4" fmla="*/ 639413 w 1278826"/>
                  <a:gd name="connsiteY4" fmla="*/ 1278827 h 1278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8826" h="1278826">
                    <a:moveTo>
                      <a:pt x="639413" y="1278827"/>
                    </a:moveTo>
                    <a:cubicBezTo>
                      <a:pt x="286275" y="1278827"/>
                      <a:pt x="0" y="992551"/>
                      <a:pt x="0" y="639413"/>
                    </a:cubicBezTo>
                    <a:cubicBezTo>
                      <a:pt x="0" y="286275"/>
                      <a:pt x="286275" y="0"/>
                      <a:pt x="639413" y="0"/>
                    </a:cubicBezTo>
                    <a:cubicBezTo>
                      <a:pt x="992551" y="0"/>
                      <a:pt x="1278827" y="286275"/>
                      <a:pt x="1278827" y="639413"/>
                    </a:cubicBezTo>
                    <a:cubicBezTo>
                      <a:pt x="1278407" y="992377"/>
                      <a:pt x="992377" y="1278407"/>
                      <a:pt x="639413" y="1278827"/>
                    </a:cubicBezTo>
                    <a:close/>
                  </a:path>
                </a:pathLst>
              </a:custGeom>
              <a:solidFill>
                <a:srgbClr val="524F5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34" name="Graphic 8">
                <a:extLst>
                  <a:ext uri="{FF2B5EF4-FFF2-40B4-BE49-F238E27FC236}">
                    <a16:creationId xmlns:a16="http://schemas.microsoft.com/office/drawing/2014/main" id="{F0D8AFF6-E707-AA4E-8D03-46629A2D0328}"/>
                  </a:ext>
                </a:extLst>
              </p:cNvPr>
              <p:cNvGrpSpPr/>
              <p:nvPr/>
            </p:nvGrpSpPr>
            <p:grpSpPr>
              <a:xfrm>
                <a:off x="4886472" y="4684451"/>
                <a:ext cx="637584" cy="849534"/>
                <a:chOff x="4886472" y="4684451"/>
                <a:chExt cx="637584" cy="849534"/>
              </a:xfrm>
              <a:solidFill>
                <a:srgbClr val="FFFFFF"/>
              </a:solidFill>
            </p:grpSpPr>
            <p:sp>
              <p:nvSpPr>
                <p:cNvPr id="35" name="Freeform 34">
                  <a:extLst>
                    <a:ext uri="{FF2B5EF4-FFF2-40B4-BE49-F238E27FC236}">
                      <a16:creationId xmlns:a16="http://schemas.microsoft.com/office/drawing/2014/main" id="{8D631756-0C70-9A47-B40B-ACE9F775E54D}"/>
                    </a:ext>
                  </a:extLst>
                </p:cNvPr>
                <p:cNvSpPr/>
                <p:nvPr/>
              </p:nvSpPr>
              <p:spPr>
                <a:xfrm>
                  <a:off x="4887997" y="4684451"/>
                  <a:ext cx="636059" cy="753231"/>
                </a:xfrm>
                <a:custGeom>
                  <a:avLst/>
                  <a:gdLst>
                    <a:gd name="connsiteX0" fmla="*/ 634840 w 636059"/>
                    <a:gd name="connsiteY0" fmla="*/ 11525 h 753231"/>
                    <a:gd name="connsiteX1" fmla="*/ 635888 w 636059"/>
                    <a:gd name="connsiteY1" fmla="*/ 57912 h 753231"/>
                    <a:gd name="connsiteX2" fmla="*/ 575023 w 636059"/>
                    <a:gd name="connsiteY2" fmla="*/ 324612 h 753231"/>
                    <a:gd name="connsiteX3" fmla="*/ 489298 w 636059"/>
                    <a:gd name="connsiteY3" fmla="*/ 437388 h 753231"/>
                    <a:gd name="connsiteX4" fmla="*/ 426909 w 636059"/>
                    <a:gd name="connsiteY4" fmla="*/ 510159 h 753231"/>
                    <a:gd name="connsiteX5" fmla="*/ 421194 w 636059"/>
                    <a:gd name="connsiteY5" fmla="*/ 530924 h 753231"/>
                    <a:gd name="connsiteX6" fmla="*/ 436625 w 636059"/>
                    <a:gd name="connsiteY6" fmla="*/ 637794 h 753231"/>
                    <a:gd name="connsiteX7" fmla="*/ 429195 w 636059"/>
                    <a:gd name="connsiteY7" fmla="*/ 664369 h 753231"/>
                    <a:gd name="connsiteX8" fmla="*/ 359282 w 636059"/>
                    <a:gd name="connsiteY8" fmla="*/ 744569 h 753231"/>
                    <a:gd name="connsiteX9" fmla="*/ 327278 w 636059"/>
                    <a:gd name="connsiteY9" fmla="*/ 738664 h 753231"/>
                    <a:gd name="connsiteX10" fmla="*/ 294416 w 636059"/>
                    <a:gd name="connsiteY10" fmla="*/ 661416 h 753231"/>
                    <a:gd name="connsiteX11" fmla="*/ 217359 w 636059"/>
                    <a:gd name="connsiteY11" fmla="*/ 707898 h 753231"/>
                    <a:gd name="connsiteX12" fmla="*/ 186974 w 636059"/>
                    <a:gd name="connsiteY12" fmla="*/ 710184 h 753231"/>
                    <a:gd name="connsiteX13" fmla="*/ 89915 w 636059"/>
                    <a:gd name="connsiteY13" fmla="*/ 640080 h 753231"/>
                    <a:gd name="connsiteX14" fmla="*/ 84295 w 636059"/>
                    <a:gd name="connsiteY14" fmla="*/ 599218 h 753231"/>
                    <a:gd name="connsiteX15" fmla="*/ 100202 w 636059"/>
                    <a:gd name="connsiteY15" fmla="*/ 559594 h 753231"/>
                    <a:gd name="connsiteX16" fmla="*/ 104393 w 636059"/>
                    <a:gd name="connsiteY16" fmla="*/ 521494 h 753231"/>
                    <a:gd name="connsiteX17" fmla="*/ 21906 w 636059"/>
                    <a:gd name="connsiteY17" fmla="*/ 513112 h 753231"/>
                    <a:gd name="connsiteX18" fmla="*/ 5999 w 636059"/>
                    <a:gd name="connsiteY18" fmla="*/ 481584 h 753231"/>
                    <a:gd name="connsiteX19" fmla="*/ 56768 w 636059"/>
                    <a:gd name="connsiteY19" fmla="*/ 396716 h 753231"/>
                    <a:gd name="connsiteX20" fmla="*/ 85343 w 636059"/>
                    <a:gd name="connsiteY20" fmla="*/ 377666 h 753231"/>
                    <a:gd name="connsiteX21" fmla="*/ 187832 w 636059"/>
                    <a:gd name="connsiteY21" fmla="*/ 362426 h 753231"/>
                    <a:gd name="connsiteX22" fmla="*/ 209263 w 636059"/>
                    <a:gd name="connsiteY22" fmla="*/ 347758 h 753231"/>
                    <a:gd name="connsiteX23" fmla="*/ 312895 w 636059"/>
                    <a:gd name="connsiteY23" fmla="*/ 185833 h 753231"/>
                    <a:gd name="connsiteX24" fmla="*/ 524350 w 636059"/>
                    <a:gd name="connsiteY24" fmla="*/ 31909 h 753231"/>
                    <a:gd name="connsiteX25" fmla="*/ 614837 w 636059"/>
                    <a:gd name="connsiteY25" fmla="*/ 5620 h 753231"/>
                    <a:gd name="connsiteX26" fmla="*/ 620648 w 636059"/>
                    <a:gd name="connsiteY26" fmla="*/ 1810 h 753231"/>
                    <a:gd name="connsiteX27" fmla="*/ 632363 w 636059"/>
                    <a:gd name="connsiteY27" fmla="*/ 0 h 753231"/>
                    <a:gd name="connsiteX28" fmla="*/ 603693 w 636059"/>
                    <a:gd name="connsiteY28" fmla="*/ 40100 h 753231"/>
                    <a:gd name="connsiteX29" fmla="*/ 587786 w 636059"/>
                    <a:gd name="connsiteY29" fmla="*/ 44101 h 753231"/>
                    <a:gd name="connsiteX30" fmla="*/ 321086 w 636059"/>
                    <a:gd name="connsiteY30" fmla="*/ 230695 h 753231"/>
                    <a:gd name="connsiteX31" fmla="*/ 139540 w 636059"/>
                    <a:gd name="connsiteY31" fmla="*/ 529400 h 753231"/>
                    <a:gd name="connsiteX32" fmla="*/ 142302 w 636059"/>
                    <a:gd name="connsiteY32" fmla="*/ 551688 h 753231"/>
                    <a:gd name="connsiteX33" fmla="*/ 255650 w 636059"/>
                    <a:gd name="connsiteY33" fmla="*/ 634175 h 753231"/>
                    <a:gd name="connsiteX34" fmla="*/ 276129 w 636059"/>
                    <a:gd name="connsiteY34" fmla="*/ 628936 h 753231"/>
                    <a:gd name="connsiteX35" fmla="*/ 470724 w 636059"/>
                    <a:gd name="connsiteY35" fmla="*/ 409194 h 753231"/>
                    <a:gd name="connsiteX36" fmla="*/ 552449 w 636059"/>
                    <a:gd name="connsiteY36" fmla="*/ 299276 h 753231"/>
                    <a:gd name="connsiteX37" fmla="*/ 603693 w 636059"/>
                    <a:gd name="connsiteY37" fmla="*/ 40291 h 753231"/>
                    <a:gd name="connsiteX38" fmla="*/ 391000 w 636059"/>
                    <a:gd name="connsiteY38" fmla="*/ 550450 h 753231"/>
                    <a:gd name="connsiteX39" fmla="*/ 322420 w 636059"/>
                    <a:gd name="connsiteY39" fmla="*/ 625983 h 753231"/>
                    <a:gd name="connsiteX40" fmla="*/ 319658 w 636059"/>
                    <a:gd name="connsiteY40" fmla="*/ 636365 h 753231"/>
                    <a:gd name="connsiteX41" fmla="*/ 349090 w 636059"/>
                    <a:gd name="connsiteY41" fmla="*/ 707327 h 753231"/>
                    <a:gd name="connsiteX42" fmla="*/ 402144 w 636059"/>
                    <a:gd name="connsiteY42" fmla="*/ 647510 h 753231"/>
                    <a:gd name="connsiteX43" fmla="*/ 404335 w 636059"/>
                    <a:gd name="connsiteY43" fmla="*/ 637985 h 753231"/>
                    <a:gd name="connsiteX44" fmla="*/ 391000 w 636059"/>
                    <a:gd name="connsiteY44" fmla="*/ 550450 h 753231"/>
                    <a:gd name="connsiteX45" fmla="*/ 43147 w 636059"/>
                    <a:gd name="connsiteY45" fmla="*/ 482822 h 753231"/>
                    <a:gd name="connsiteX46" fmla="*/ 117632 w 636059"/>
                    <a:gd name="connsiteY46" fmla="*/ 489109 h 753231"/>
                    <a:gd name="connsiteX47" fmla="*/ 130396 w 636059"/>
                    <a:gd name="connsiteY47" fmla="*/ 480441 h 753231"/>
                    <a:gd name="connsiteX48" fmla="*/ 168496 w 636059"/>
                    <a:gd name="connsiteY48" fmla="*/ 415862 h 753231"/>
                    <a:gd name="connsiteX49" fmla="*/ 179640 w 636059"/>
                    <a:gd name="connsiteY49" fmla="*/ 395764 h 753231"/>
                    <a:gd name="connsiteX50" fmla="*/ 94772 w 636059"/>
                    <a:gd name="connsiteY50" fmla="*/ 409004 h 753231"/>
                    <a:gd name="connsiteX51" fmla="*/ 83914 w 636059"/>
                    <a:gd name="connsiteY51" fmla="*/ 414909 h 753231"/>
                    <a:gd name="connsiteX52" fmla="*/ 43147 w 636059"/>
                    <a:gd name="connsiteY52" fmla="*/ 482822 h 753231"/>
                    <a:gd name="connsiteX53" fmla="*/ 225265 w 636059"/>
                    <a:gd name="connsiteY53" fmla="*/ 660654 h 753231"/>
                    <a:gd name="connsiteX54" fmla="*/ 125157 w 636059"/>
                    <a:gd name="connsiteY54" fmla="*/ 586550 h 753231"/>
                    <a:gd name="connsiteX55" fmla="*/ 118299 w 636059"/>
                    <a:gd name="connsiteY55" fmla="*/ 602075 h 753231"/>
                    <a:gd name="connsiteX56" fmla="*/ 121915 w 636059"/>
                    <a:gd name="connsiteY56" fmla="*/ 627957 h 753231"/>
                    <a:gd name="connsiteX57" fmla="*/ 123347 w 636059"/>
                    <a:gd name="connsiteY57" fmla="*/ 628936 h 753231"/>
                    <a:gd name="connsiteX58" fmla="*/ 168496 w 636059"/>
                    <a:gd name="connsiteY58" fmla="*/ 664083 h 753231"/>
                    <a:gd name="connsiteX59" fmla="*/ 225265 w 636059"/>
                    <a:gd name="connsiteY59" fmla="*/ 660654 h 753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636059" h="753231">
                      <a:moveTo>
                        <a:pt x="634840" y="11525"/>
                      </a:moveTo>
                      <a:cubicBezTo>
                        <a:pt x="634840" y="27051"/>
                        <a:pt x="635602" y="42482"/>
                        <a:pt x="635888" y="57912"/>
                      </a:cubicBezTo>
                      <a:cubicBezTo>
                        <a:pt x="637697" y="151924"/>
                        <a:pt x="625696" y="243364"/>
                        <a:pt x="575023" y="324612"/>
                      </a:cubicBezTo>
                      <a:cubicBezTo>
                        <a:pt x="548604" y="363795"/>
                        <a:pt x="519983" y="401448"/>
                        <a:pt x="489298" y="437388"/>
                      </a:cubicBezTo>
                      <a:cubicBezTo>
                        <a:pt x="469391" y="462344"/>
                        <a:pt x="447102" y="485013"/>
                        <a:pt x="426909" y="510159"/>
                      </a:cubicBezTo>
                      <a:cubicBezTo>
                        <a:pt x="422483" y="516127"/>
                        <a:pt x="420445" y="523532"/>
                        <a:pt x="421194" y="530924"/>
                      </a:cubicBezTo>
                      <a:cubicBezTo>
                        <a:pt x="425861" y="566642"/>
                        <a:pt x="432434" y="602075"/>
                        <a:pt x="436625" y="637794"/>
                      </a:cubicBezTo>
                      <a:cubicBezTo>
                        <a:pt x="437491" y="647264"/>
                        <a:pt x="434847" y="656722"/>
                        <a:pt x="429195" y="664369"/>
                      </a:cubicBezTo>
                      <a:cubicBezTo>
                        <a:pt x="406811" y="691896"/>
                        <a:pt x="382999" y="718185"/>
                        <a:pt x="359282" y="744569"/>
                      </a:cubicBezTo>
                      <a:cubicBezTo>
                        <a:pt x="347090" y="758095"/>
                        <a:pt x="334517" y="755523"/>
                        <a:pt x="327278" y="738664"/>
                      </a:cubicBezTo>
                      <a:cubicBezTo>
                        <a:pt x="315943" y="712565"/>
                        <a:pt x="304989" y="686276"/>
                        <a:pt x="294416" y="661416"/>
                      </a:cubicBezTo>
                      <a:cubicBezTo>
                        <a:pt x="262031" y="667417"/>
                        <a:pt x="242124" y="691420"/>
                        <a:pt x="217359" y="707898"/>
                      </a:cubicBezTo>
                      <a:cubicBezTo>
                        <a:pt x="207990" y="712853"/>
                        <a:pt x="196980" y="713682"/>
                        <a:pt x="186974" y="710184"/>
                      </a:cubicBezTo>
                      <a:cubicBezTo>
                        <a:pt x="149331" y="695186"/>
                        <a:pt x="115985" y="671101"/>
                        <a:pt x="89915" y="640080"/>
                      </a:cubicBezTo>
                      <a:cubicBezTo>
                        <a:pt x="79143" y="629234"/>
                        <a:pt x="76851" y="612569"/>
                        <a:pt x="84295" y="599218"/>
                      </a:cubicBezTo>
                      <a:cubicBezTo>
                        <a:pt x="90841" y="586544"/>
                        <a:pt x="96167" y="573276"/>
                        <a:pt x="100202" y="559594"/>
                      </a:cubicBezTo>
                      <a:cubicBezTo>
                        <a:pt x="102585" y="547022"/>
                        <a:pt x="103986" y="534283"/>
                        <a:pt x="104393" y="521494"/>
                      </a:cubicBezTo>
                      <a:lnTo>
                        <a:pt x="21906" y="513112"/>
                      </a:lnTo>
                      <a:cubicBezTo>
                        <a:pt x="-382" y="510921"/>
                        <a:pt x="-5621" y="500920"/>
                        <a:pt x="5999" y="481584"/>
                      </a:cubicBezTo>
                      <a:cubicBezTo>
                        <a:pt x="22954" y="453009"/>
                        <a:pt x="40289" y="425196"/>
                        <a:pt x="56768" y="396716"/>
                      </a:cubicBezTo>
                      <a:cubicBezTo>
                        <a:pt x="62442" y="385928"/>
                        <a:pt x="73202" y="378755"/>
                        <a:pt x="85343" y="377666"/>
                      </a:cubicBezTo>
                      <a:cubicBezTo>
                        <a:pt x="119537" y="373190"/>
                        <a:pt x="153542" y="366903"/>
                        <a:pt x="187832" y="362426"/>
                      </a:cubicBezTo>
                      <a:cubicBezTo>
                        <a:pt x="196996" y="361476"/>
                        <a:pt x="205060" y="355957"/>
                        <a:pt x="209263" y="347758"/>
                      </a:cubicBezTo>
                      <a:cubicBezTo>
                        <a:pt x="243362" y="293656"/>
                        <a:pt x="276700" y="238982"/>
                        <a:pt x="312895" y="185833"/>
                      </a:cubicBezTo>
                      <a:cubicBezTo>
                        <a:pt x="364997" y="109633"/>
                        <a:pt x="439482" y="63056"/>
                        <a:pt x="524350" y="31909"/>
                      </a:cubicBezTo>
                      <a:cubicBezTo>
                        <a:pt x="553782" y="21146"/>
                        <a:pt x="584643" y="14383"/>
                        <a:pt x="614837" y="5620"/>
                      </a:cubicBezTo>
                      <a:cubicBezTo>
                        <a:pt x="616946" y="4634"/>
                        <a:pt x="618903" y="3351"/>
                        <a:pt x="620648" y="1810"/>
                      </a:cubicBezTo>
                      <a:lnTo>
                        <a:pt x="632363" y="0"/>
                      </a:lnTo>
                      <a:close/>
                      <a:moveTo>
                        <a:pt x="603693" y="40100"/>
                      </a:moveTo>
                      <a:cubicBezTo>
                        <a:pt x="597121" y="41720"/>
                        <a:pt x="592358" y="42767"/>
                        <a:pt x="587786" y="44101"/>
                      </a:cubicBezTo>
                      <a:cubicBezTo>
                        <a:pt x="477677" y="75819"/>
                        <a:pt x="382808" y="129350"/>
                        <a:pt x="321086" y="230695"/>
                      </a:cubicBezTo>
                      <a:cubicBezTo>
                        <a:pt x="260888" y="330454"/>
                        <a:pt x="200373" y="430022"/>
                        <a:pt x="139540" y="529400"/>
                      </a:cubicBezTo>
                      <a:cubicBezTo>
                        <a:pt x="134702" y="536461"/>
                        <a:pt x="135887" y="546021"/>
                        <a:pt x="142302" y="551688"/>
                      </a:cubicBezTo>
                      <a:cubicBezTo>
                        <a:pt x="172616" y="588204"/>
                        <a:pt x="211581" y="616560"/>
                        <a:pt x="255650" y="634175"/>
                      </a:cubicBezTo>
                      <a:cubicBezTo>
                        <a:pt x="262822" y="637827"/>
                        <a:pt x="271591" y="635584"/>
                        <a:pt x="276129" y="628936"/>
                      </a:cubicBezTo>
                      <a:cubicBezTo>
                        <a:pt x="340994" y="555593"/>
                        <a:pt x="407002" y="483394"/>
                        <a:pt x="470724" y="409194"/>
                      </a:cubicBezTo>
                      <a:cubicBezTo>
                        <a:pt x="501154" y="375036"/>
                        <a:pt x="528502" y="338253"/>
                        <a:pt x="552449" y="299276"/>
                      </a:cubicBezTo>
                      <a:cubicBezTo>
                        <a:pt x="598740" y="220313"/>
                        <a:pt x="606836" y="132207"/>
                        <a:pt x="603693" y="40291"/>
                      </a:cubicBezTo>
                      <a:close/>
                      <a:moveTo>
                        <a:pt x="391000" y="550450"/>
                      </a:moveTo>
                      <a:cubicBezTo>
                        <a:pt x="366425" y="577406"/>
                        <a:pt x="344232" y="601504"/>
                        <a:pt x="322420" y="625983"/>
                      </a:cubicBezTo>
                      <a:cubicBezTo>
                        <a:pt x="319968" y="628843"/>
                        <a:pt x="318951" y="632665"/>
                        <a:pt x="319658" y="636365"/>
                      </a:cubicBezTo>
                      <a:cubicBezTo>
                        <a:pt x="329183" y="659511"/>
                        <a:pt x="338708" y="682276"/>
                        <a:pt x="349090" y="707327"/>
                      </a:cubicBezTo>
                      <a:cubicBezTo>
                        <a:pt x="368140" y="686276"/>
                        <a:pt x="385190" y="667036"/>
                        <a:pt x="402144" y="647510"/>
                      </a:cubicBezTo>
                      <a:cubicBezTo>
                        <a:pt x="404028" y="644715"/>
                        <a:pt x="404808" y="641321"/>
                        <a:pt x="404335" y="637985"/>
                      </a:cubicBezTo>
                      <a:cubicBezTo>
                        <a:pt x="400239" y="609981"/>
                        <a:pt x="395858" y="582263"/>
                        <a:pt x="391000" y="550450"/>
                      </a:cubicBezTo>
                      <a:close/>
                      <a:moveTo>
                        <a:pt x="43147" y="482822"/>
                      </a:moveTo>
                      <a:cubicBezTo>
                        <a:pt x="69912" y="485299"/>
                        <a:pt x="93725" y="487870"/>
                        <a:pt x="117632" y="489109"/>
                      </a:cubicBezTo>
                      <a:cubicBezTo>
                        <a:pt x="122919" y="488149"/>
                        <a:pt x="127554" y="485001"/>
                        <a:pt x="130396" y="480441"/>
                      </a:cubicBezTo>
                      <a:cubicBezTo>
                        <a:pt x="143636" y="459200"/>
                        <a:pt x="155923" y="437483"/>
                        <a:pt x="168496" y="415862"/>
                      </a:cubicBezTo>
                      <a:cubicBezTo>
                        <a:pt x="171925" y="409956"/>
                        <a:pt x="175259" y="403765"/>
                        <a:pt x="179640" y="395764"/>
                      </a:cubicBezTo>
                      <a:cubicBezTo>
                        <a:pt x="149160" y="400526"/>
                        <a:pt x="121919" y="404527"/>
                        <a:pt x="94772" y="409004"/>
                      </a:cubicBezTo>
                      <a:cubicBezTo>
                        <a:pt x="90547" y="409562"/>
                        <a:pt x="86679" y="411666"/>
                        <a:pt x="83914" y="414909"/>
                      </a:cubicBezTo>
                      <a:cubicBezTo>
                        <a:pt x="70388" y="436436"/>
                        <a:pt x="57625" y="458438"/>
                        <a:pt x="43147" y="482822"/>
                      </a:cubicBezTo>
                      <a:close/>
                      <a:moveTo>
                        <a:pt x="225265" y="660654"/>
                      </a:moveTo>
                      <a:lnTo>
                        <a:pt x="125157" y="586550"/>
                      </a:lnTo>
                      <a:cubicBezTo>
                        <a:pt x="123347" y="590550"/>
                        <a:pt x="121347" y="596646"/>
                        <a:pt x="118299" y="602075"/>
                      </a:cubicBezTo>
                      <a:cubicBezTo>
                        <a:pt x="112151" y="610221"/>
                        <a:pt x="113770" y="621808"/>
                        <a:pt x="121915" y="627957"/>
                      </a:cubicBezTo>
                      <a:cubicBezTo>
                        <a:pt x="122377" y="628305"/>
                        <a:pt x="122855" y="628632"/>
                        <a:pt x="123347" y="628936"/>
                      </a:cubicBezTo>
                      <a:cubicBezTo>
                        <a:pt x="137731" y="641483"/>
                        <a:pt x="152804" y="653217"/>
                        <a:pt x="168496" y="664083"/>
                      </a:cubicBezTo>
                      <a:cubicBezTo>
                        <a:pt x="206691" y="687705"/>
                        <a:pt x="195642" y="685229"/>
                        <a:pt x="225265" y="66065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6" name="Freeform 35">
                  <a:extLst>
                    <a:ext uri="{FF2B5EF4-FFF2-40B4-BE49-F238E27FC236}">
                      <a16:creationId xmlns:a16="http://schemas.microsoft.com/office/drawing/2014/main" id="{6CF9C53F-D1C1-6245-8F3C-CA7864957FAA}"/>
                    </a:ext>
                  </a:extLst>
                </p:cNvPr>
                <p:cNvSpPr/>
                <p:nvPr/>
              </p:nvSpPr>
              <p:spPr>
                <a:xfrm>
                  <a:off x="4886472" y="5342819"/>
                  <a:ext cx="172878" cy="191166"/>
                </a:xfrm>
                <a:custGeom>
                  <a:avLst/>
                  <a:gdLst>
                    <a:gd name="connsiteX0" fmla="*/ 0 w 172878"/>
                    <a:gd name="connsiteY0" fmla="*/ 124587 h 191166"/>
                    <a:gd name="connsiteX1" fmla="*/ 3620 w 172878"/>
                    <a:gd name="connsiteY1" fmla="*/ 88964 h 191166"/>
                    <a:gd name="connsiteX2" fmla="*/ 34100 w 172878"/>
                    <a:gd name="connsiteY2" fmla="*/ 35433 h 191166"/>
                    <a:gd name="connsiteX3" fmla="*/ 80200 w 172878"/>
                    <a:gd name="connsiteY3" fmla="*/ 0 h 191166"/>
                    <a:gd name="connsiteX4" fmla="*/ 102489 w 172878"/>
                    <a:gd name="connsiteY4" fmla="*/ 22670 h 191166"/>
                    <a:gd name="connsiteX5" fmla="*/ 59341 w 172878"/>
                    <a:gd name="connsiteY5" fmla="*/ 56293 h 191166"/>
                    <a:gd name="connsiteX6" fmla="*/ 34576 w 172878"/>
                    <a:gd name="connsiteY6" fmla="*/ 100679 h 191166"/>
                    <a:gd name="connsiteX7" fmla="*/ 35433 w 172878"/>
                    <a:gd name="connsiteY7" fmla="*/ 154781 h 191166"/>
                    <a:gd name="connsiteX8" fmla="*/ 104489 w 172878"/>
                    <a:gd name="connsiteY8" fmla="*/ 132398 h 191166"/>
                    <a:gd name="connsiteX9" fmla="*/ 125825 w 172878"/>
                    <a:gd name="connsiteY9" fmla="*/ 103823 h 191166"/>
                    <a:gd name="connsiteX10" fmla="*/ 143732 w 172878"/>
                    <a:gd name="connsiteY10" fmla="*/ 53912 h 191166"/>
                    <a:gd name="connsiteX11" fmla="*/ 172879 w 172878"/>
                    <a:gd name="connsiteY11" fmla="*/ 66770 h 191166"/>
                    <a:gd name="connsiteX12" fmla="*/ 156115 w 172878"/>
                    <a:gd name="connsiteY12" fmla="*/ 116300 h 191166"/>
                    <a:gd name="connsiteX13" fmla="*/ 95726 w 172878"/>
                    <a:gd name="connsiteY13" fmla="*/ 172688 h 191166"/>
                    <a:gd name="connsiteX14" fmla="*/ 74676 w 172878"/>
                    <a:gd name="connsiteY14" fmla="*/ 181642 h 191166"/>
                    <a:gd name="connsiteX15" fmla="*/ 10287 w 172878"/>
                    <a:gd name="connsiteY15" fmla="*/ 191167 h 1911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72878" h="191166">
                      <a:moveTo>
                        <a:pt x="0" y="124587"/>
                      </a:moveTo>
                      <a:cubicBezTo>
                        <a:pt x="1143" y="112681"/>
                        <a:pt x="2000" y="100775"/>
                        <a:pt x="3620" y="88964"/>
                      </a:cubicBezTo>
                      <a:cubicBezTo>
                        <a:pt x="5793" y="67626"/>
                        <a:pt x="16859" y="48192"/>
                        <a:pt x="34100" y="35433"/>
                      </a:cubicBezTo>
                      <a:cubicBezTo>
                        <a:pt x="49435" y="24098"/>
                        <a:pt x="64389" y="12287"/>
                        <a:pt x="80200" y="0"/>
                      </a:cubicBezTo>
                      <a:lnTo>
                        <a:pt x="102489" y="22670"/>
                      </a:lnTo>
                      <a:cubicBezTo>
                        <a:pt x="87820" y="34195"/>
                        <a:pt x="73914" y="46006"/>
                        <a:pt x="59341" y="56293"/>
                      </a:cubicBezTo>
                      <a:cubicBezTo>
                        <a:pt x="44008" y="65850"/>
                        <a:pt x="34656" y="82611"/>
                        <a:pt x="34576" y="100679"/>
                      </a:cubicBezTo>
                      <a:cubicBezTo>
                        <a:pt x="34576" y="118301"/>
                        <a:pt x="35147" y="135827"/>
                        <a:pt x="35433" y="154781"/>
                      </a:cubicBezTo>
                      <a:cubicBezTo>
                        <a:pt x="60033" y="153593"/>
                        <a:pt x="83870" y="145866"/>
                        <a:pt x="104489" y="132398"/>
                      </a:cubicBezTo>
                      <a:cubicBezTo>
                        <a:pt x="113810" y="124741"/>
                        <a:pt x="121132" y="114935"/>
                        <a:pt x="125825" y="103823"/>
                      </a:cubicBezTo>
                      <a:cubicBezTo>
                        <a:pt x="133064" y="88392"/>
                        <a:pt x="137541" y="71628"/>
                        <a:pt x="143732" y="53912"/>
                      </a:cubicBezTo>
                      <a:lnTo>
                        <a:pt x="172879" y="66770"/>
                      </a:lnTo>
                      <a:cubicBezTo>
                        <a:pt x="167068" y="84106"/>
                        <a:pt x="161735" y="100298"/>
                        <a:pt x="156115" y="116300"/>
                      </a:cubicBezTo>
                      <a:cubicBezTo>
                        <a:pt x="145828" y="145542"/>
                        <a:pt x="123825" y="162306"/>
                        <a:pt x="95726" y="172688"/>
                      </a:cubicBezTo>
                      <a:cubicBezTo>
                        <a:pt x="88582" y="175260"/>
                        <a:pt x="81724" y="178594"/>
                        <a:pt x="74676" y="181642"/>
                      </a:cubicBezTo>
                      <a:lnTo>
                        <a:pt x="10287" y="1911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7" name="Freeform 36">
                  <a:extLst>
                    <a:ext uri="{FF2B5EF4-FFF2-40B4-BE49-F238E27FC236}">
                      <a16:creationId xmlns:a16="http://schemas.microsoft.com/office/drawing/2014/main" id="{5E239AAE-1B81-EF4C-B345-1CEAAB9FECC2}"/>
                    </a:ext>
                  </a:extLst>
                </p:cNvPr>
                <p:cNvSpPr/>
                <p:nvPr/>
              </p:nvSpPr>
              <p:spPr>
                <a:xfrm>
                  <a:off x="5252117" y="4870617"/>
                  <a:ext cx="152529" cy="152340"/>
                </a:xfrm>
                <a:custGeom>
                  <a:avLst/>
                  <a:gdLst>
                    <a:gd name="connsiteX0" fmla="*/ 973 w 152529"/>
                    <a:gd name="connsiteY0" fmla="*/ 87488 h 152340"/>
                    <a:gd name="connsiteX1" fmla="*/ 63532 w 152529"/>
                    <a:gd name="connsiteY1" fmla="*/ 903 h 152340"/>
                    <a:gd name="connsiteX2" fmla="*/ 64123 w 152529"/>
                    <a:gd name="connsiteY2" fmla="*/ 810 h 152340"/>
                    <a:gd name="connsiteX3" fmla="*/ 151753 w 152529"/>
                    <a:gd name="connsiteY3" fmla="*/ 65580 h 152340"/>
                    <a:gd name="connsiteX4" fmla="*/ 87722 w 152529"/>
                    <a:gd name="connsiteY4" fmla="*/ 151082 h 152340"/>
                    <a:gd name="connsiteX5" fmla="*/ 86031 w 152529"/>
                    <a:gd name="connsiteY5" fmla="*/ 151305 h 152340"/>
                    <a:gd name="connsiteX6" fmla="*/ 1502 w 152529"/>
                    <a:gd name="connsiteY6" fmla="*/ 91197 h 152340"/>
                    <a:gd name="connsiteX7" fmla="*/ 973 w 152529"/>
                    <a:gd name="connsiteY7" fmla="*/ 87488 h 152340"/>
                    <a:gd name="connsiteX8" fmla="*/ 119464 w 152529"/>
                    <a:gd name="connsiteY8" fmla="*/ 69486 h 152340"/>
                    <a:gd name="connsiteX9" fmla="*/ 69430 w 152529"/>
                    <a:gd name="connsiteY9" fmla="*/ 32933 h 152340"/>
                    <a:gd name="connsiteX10" fmla="*/ 68981 w 152529"/>
                    <a:gd name="connsiteY10" fmla="*/ 33005 h 152340"/>
                    <a:gd name="connsiteX11" fmla="*/ 31738 w 152529"/>
                    <a:gd name="connsiteY11" fmla="*/ 83202 h 152340"/>
                    <a:gd name="connsiteX12" fmla="*/ 81935 w 152529"/>
                    <a:gd name="connsiteY12" fmla="*/ 120825 h 152340"/>
                    <a:gd name="connsiteX13" fmla="*/ 119584 w 152529"/>
                    <a:gd name="connsiteY13" fmla="*/ 70261 h 152340"/>
                    <a:gd name="connsiteX14" fmla="*/ 119464 w 152529"/>
                    <a:gd name="connsiteY14" fmla="*/ 69486 h 1523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52529" h="152340">
                      <a:moveTo>
                        <a:pt x="973" y="87488"/>
                      </a:moveTo>
                      <a:cubicBezTo>
                        <a:pt x="-5662" y="46303"/>
                        <a:pt x="22347" y="7538"/>
                        <a:pt x="63532" y="903"/>
                      </a:cubicBezTo>
                      <a:cubicBezTo>
                        <a:pt x="63729" y="872"/>
                        <a:pt x="63926" y="841"/>
                        <a:pt x="64123" y="810"/>
                      </a:cubicBezTo>
                      <a:cubicBezTo>
                        <a:pt x="106152" y="-5281"/>
                        <a:pt x="145245" y="23614"/>
                        <a:pt x="151753" y="65580"/>
                      </a:cubicBezTo>
                      <a:cubicBezTo>
                        <a:pt x="157682" y="106873"/>
                        <a:pt x="129014" y="145153"/>
                        <a:pt x="87722" y="151082"/>
                      </a:cubicBezTo>
                      <a:cubicBezTo>
                        <a:pt x="87159" y="151163"/>
                        <a:pt x="86595" y="151237"/>
                        <a:pt x="86031" y="151305"/>
                      </a:cubicBezTo>
                      <a:cubicBezTo>
                        <a:pt x="46090" y="158049"/>
                        <a:pt x="8245" y="131137"/>
                        <a:pt x="1502" y="91197"/>
                      </a:cubicBezTo>
                      <a:cubicBezTo>
                        <a:pt x="1294" y="89965"/>
                        <a:pt x="1117" y="88728"/>
                        <a:pt x="973" y="87488"/>
                      </a:cubicBezTo>
                      <a:close/>
                      <a:moveTo>
                        <a:pt x="119464" y="69486"/>
                      </a:moveTo>
                      <a:cubicBezTo>
                        <a:pt x="115741" y="45575"/>
                        <a:pt x="93340" y="29210"/>
                        <a:pt x="69430" y="32933"/>
                      </a:cubicBezTo>
                      <a:cubicBezTo>
                        <a:pt x="69280" y="32956"/>
                        <a:pt x="69131" y="32980"/>
                        <a:pt x="68981" y="33005"/>
                      </a:cubicBezTo>
                      <a:cubicBezTo>
                        <a:pt x="45008" y="36867"/>
                        <a:pt x="28484" y="59138"/>
                        <a:pt x="31738" y="83202"/>
                      </a:cubicBezTo>
                      <a:cubicBezTo>
                        <a:pt x="36043" y="106949"/>
                        <a:pt x="57934" y="123356"/>
                        <a:pt x="81935" y="120825"/>
                      </a:cubicBezTo>
                      <a:cubicBezTo>
                        <a:pt x="106294" y="117259"/>
                        <a:pt x="123151" y="94620"/>
                        <a:pt x="119584" y="70261"/>
                      </a:cubicBezTo>
                      <a:cubicBezTo>
                        <a:pt x="119546" y="70002"/>
                        <a:pt x="119506" y="69744"/>
                        <a:pt x="119464" y="6948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27" name="Graphic 8">
              <a:extLst>
                <a:ext uri="{FF2B5EF4-FFF2-40B4-BE49-F238E27FC236}">
                  <a16:creationId xmlns:a16="http://schemas.microsoft.com/office/drawing/2014/main" id="{8BDFCDF3-A444-1348-9D6A-720D994442A2}"/>
                </a:ext>
              </a:extLst>
            </p:cNvPr>
            <p:cNvGrpSpPr/>
            <p:nvPr/>
          </p:nvGrpSpPr>
          <p:grpSpPr>
            <a:xfrm>
              <a:off x="4576338" y="4457471"/>
              <a:ext cx="1278826" cy="1278826"/>
              <a:chOff x="4576338" y="4457471"/>
              <a:chExt cx="1278826" cy="1278826"/>
            </a:xfrm>
            <a:solidFill>
              <a:schemeClr val="accent1"/>
            </a:solidFill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07B10CC5-DED1-B745-BB49-8CB2799AF67F}"/>
                  </a:ext>
                </a:extLst>
              </p:cNvPr>
              <p:cNvSpPr/>
              <p:nvPr/>
            </p:nvSpPr>
            <p:spPr>
              <a:xfrm>
                <a:off x="4576338" y="4457471"/>
                <a:ext cx="1278826" cy="1278826"/>
              </a:xfrm>
              <a:custGeom>
                <a:avLst/>
                <a:gdLst>
                  <a:gd name="connsiteX0" fmla="*/ 639413 w 1278826"/>
                  <a:gd name="connsiteY0" fmla="*/ 1278827 h 1278826"/>
                  <a:gd name="connsiteX1" fmla="*/ 0 w 1278826"/>
                  <a:gd name="connsiteY1" fmla="*/ 639413 h 1278826"/>
                  <a:gd name="connsiteX2" fmla="*/ 639413 w 1278826"/>
                  <a:gd name="connsiteY2" fmla="*/ 0 h 1278826"/>
                  <a:gd name="connsiteX3" fmla="*/ 1278827 w 1278826"/>
                  <a:gd name="connsiteY3" fmla="*/ 639413 h 1278826"/>
                  <a:gd name="connsiteX4" fmla="*/ 639413 w 1278826"/>
                  <a:gd name="connsiteY4" fmla="*/ 1278827 h 1278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78826" h="1278826">
                    <a:moveTo>
                      <a:pt x="639413" y="1278827"/>
                    </a:moveTo>
                    <a:cubicBezTo>
                      <a:pt x="286275" y="1278827"/>
                      <a:pt x="0" y="992551"/>
                      <a:pt x="0" y="639413"/>
                    </a:cubicBezTo>
                    <a:cubicBezTo>
                      <a:pt x="0" y="286275"/>
                      <a:pt x="286275" y="0"/>
                      <a:pt x="639413" y="0"/>
                    </a:cubicBezTo>
                    <a:cubicBezTo>
                      <a:pt x="992551" y="0"/>
                      <a:pt x="1278827" y="286275"/>
                      <a:pt x="1278827" y="639413"/>
                    </a:cubicBezTo>
                    <a:cubicBezTo>
                      <a:pt x="1278407" y="992377"/>
                      <a:pt x="992377" y="1278407"/>
                      <a:pt x="639413" y="1278827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29" name="Graphic 8">
                <a:extLst>
                  <a:ext uri="{FF2B5EF4-FFF2-40B4-BE49-F238E27FC236}">
                    <a16:creationId xmlns:a16="http://schemas.microsoft.com/office/drawing/2014/main" id="{A06DABA8-5265-3C47-B453-C24F459A4D1A}"/>
                  </a:ext>
                </a:extLst>
              </p:cNvPr>
              <p:cNvGrpSpPr/>
              <p:nvPr/>
            </p:nvGrpSpPr>
            <p:grpSpPr>
              <a:xfrm>
                <a:off x="4886472" y="4684451"/>
                <a:ext cx="637584" cy="849534"/>
                <a:chOff x="4886472" y="4684451"/>
                <a:chExt cx="637584" cy="849534"/>
              </a:xfrm>
              <a:solidFill>
                <a:srgbClr val="FFFFFF"/>
              </a:solidFill>
            </p:grpSpPr>
            <p:sp>
              <p:nvSpPr>
                <p:cNvPr id="30" name="Freeform 29">
                  <a:extLst>
                    <a:ext uri="{FF2B5EF4-FFF2-40B4-BE49-F238E27FC236}">
                      <a16:creationId xmlns:a16="http://schemas.microsoft.com/office/drawing/2014/main" id="{22885944-C0D2-8D42-9B20-F64FB9FE7FB5}"/>
                    </a:ext>
                  </a:extLst>
                </p:cNvPr>
                <p:cNvSpPr/>
                <p:nvPr/>
              </p:nvSpPr>
              <p:spPr>
                <a:xfrm>
                  <a:off x="4887997" y="4684451"/>
                  <a:ext cx="636059" cy="753231"/>
                </a:xfrm>
                <a:custGeom>
                  <a:avLst/>
                  <a:gdLst>
                    <a:gd name="connsiteX0" fmla="*/ 634840 w 636059"/>
                    <a:gd name="connsiteY0" fmla="*/ 11525 h 753231"/>
                    <a:gd name="connsiteX1" fmla="*/ 635888 w 636059"/>
                    <a:gd name="connsiteY1" fmla="*/ 57912 h 753231"/>
                    <a:gd name="connsiteX2" fmla="*/ 575023 w 636059"/>
                    <a:gd name="connsiteY2" fmla="*/ 324612 h 753231"/>
                    <a:gd name="connsiteX3" fmla="*/ 489298 w 636059"/>
                    <a:gd name="connsiteY3" fmla="*/ 437388 h 753231"/>
                    <a:gd name="connsiteX4" fmla="*/ 426909 w 636059"/>
                    <a:gd name="connsiteY4" fmla="*/ 510159 h 753231"/>
                    <a:gd name="connsiteX5" fmla="*/ 421194 w 636059"/>
                    <a:gd name="connsiteY5" fmla="*/ 530924 h 753231"/>
                    <a:gd name="connsiteX6" fmla="*/ 436625 w 636059"/>
                    <a:gd name="connsiteY6" fmla="*/ 637794 h 753231"/>
                    <a:gd name="connsiteX7" fmla="*/ 429195 w 636059"/>
                    <a:gd name="connsiteY7" fmla="*/ 664369 h 753231"/>
                    <a:gd name="connsiteX8" fmla="*/ 359282 w 636059"/>
                    <a:gd name="connsiteY8" fmla="*/ 744569 h 753231"/>
                    <a:gd name="connsiteX9" fmla="*/ 327278 w 636059"/>
                    <a:gd name="connsiteY9" fmla="*/ 738664 h 753231"/>
                    <a:gd name="connsiteX10" fmla="*/ 294416 w 636059"/>
                    <a:gd name="connsiteY10" fmla="*/ 661416 h 753231"/>
                    <a:gd name="connsiteX11" fmla="*/ 217359 w 636059"/>
                    <a:gd name="connsiteY11" fmla="*/ 707898 h 753231"/>
                    <a:gd name="connsiteX12" fmla="*/ 186974 w 636059"/>
                    <a:gd name="connsiteY12" fmla="*/ 710184 h 753231"/>
                    <a:gd name="connsiteX13" fmla="*/ 89915 w 636059"/>
                    <a:gd name="connsiteY13" fmla="*/ 640080 h 753231"/>
                    <a:gd name="connsiteX14" fmla="*/ 84295 w 636059"/>
                    <a:gd name="connsiteY14" fmla="*/ 599218 h 753231"/>
                    <a:gd name="connsiteX15" fmla="*/ 100202 w 636059"/>
                    <a:gd name="connsiteY15" fmla="*/ 559594 h 753231"/>
                    <a:gd name="connsiteX16" fmla="*/ 104393 w 636059"/>
                    <a:gd name="connsiteY16" fmla="*/ 521494 h 753231"/>
                    <a:gd name="connsiteX17" fmla="*/ 21906 w 636059"/>
                    <a:gd name="connsiteY17" fmla="*/ 513112 h 753231"/>
                    <a:gd name="connsiteX18" fmla="*/ 5999 w 636059"/>
                    <a:gd name="connsiteY18" fmla="*/ 481584 h 753231"/>
                    <a:gd name="connsiteX19" fmla="*/ 56768 w 636059"/>
                    <a:gd name="connsiteY19" fmla="*/ 396716 h 753231"/>
                    <a:gd name="connsiteX20" fmla="*/ 85343 w 636059"/>
                    <a:gd name="connsiteY20" fmla="*/ 377666 h 753231"/>
                    <a:gd name="connsiteX21" fmla="*/ 187832 w 636059"/>
                    <a:gd name="connsiteY21" fmla="*/ 362426 h 753231"/>
                    <a:gd name="connsiteX22" fmla="*/ 209263 w 636059"/>
                    <a:gd name="connsiteY22" fmla="*/ 347758 h 753231"/>
                    <a:gd name="connsiteX23" fmla="*/ 312895 w 636059"/>
                    <a:gd name="connsiteY23" fmla="*/ 185833 h 753231"/>
                    <a:gd name="connsiteX24" fmla="*/ 524350 w 636059"/>
                    <a:gd name="connsiteY24" fmla="*/ 31909 h 753231"/>
                    <a:gd name="connsiteX25" fmla="*/ 614837 w 636059"/>
                    <a:gd name="connsiteY25" fmla="*/ 5620 h 753231"/>
                    <a:gd name="connsiteX26" fmla="*/ 620648 w 636059"/>
                    <a:gd name="connsiteY26" fmla="*/ 1810 h 753231"/>
                    <a:gd name="connsiteX27" fmla="*/ 632363 w 636059"/>
                    <a:gd name="connsiteY27" fmla="*/ 0 h 753231"/>
                    <a:gd name="connsiteX28" fmla="*/ 603693 w 636059"/>
                    <a:gd name="connsiteY28" fmla="*/ 40100 h 753231"/>
                    <a:gd name="connsiteX29" fmla="*/ 587786 w 636059"/>
                    <a:gd name="connsiteY29" fmla="*/ 44101 h 753231"/>
                    <a:gd name="connsiteX30" fmla="*/ 321086 w 636059"/>
                    <a:gd name="connsiteY30" fmla="*/ 230695 h 753231"/>
                    <a:gd name="connsiteX31" fmla="*/ 139540 w 636059"/>
                    <a:gd name="connsiteY31" fmla="*/ 529400 h 753231"/>
                    <a:gd name="connsiteX32" fmla="*/ 142302 w 636059"/>
                    <a:gd name="connsiteY32" fmla="*/ 551688 h 753231"/>
                    <a:gd name="connsiteX33" fmla="*/ 255650 w 636059"/>
                    <a:gd name="connsiteY33" fmla="*/ 634175 h 753231"/>
                    <a:gd name="connsiteX34" fmla="*/ 276129 w 636059"/>
                    <a:gd name="connsiteY34" fmla="*/ 628936 h 753231"/>
                    <a:gd name="connsiteX35" fmla="*/ 470724 w 636059"/>
                    <a:gd name="connsiteY35" fmla="*/ 409194 h 753231"/>
                    <a:gd name="connsiteX36" fmla="*/ 552449 w 636059"/>
                    <a:gd name="connsiteY36" fmla="*/ 299276 h 753231"/>
                    <a:gd name="connsiteX37" fmla="*/ 603693 w 636059"/>
                    <a:gd name="connsiteY37" fmla="*/ 40291 h 753231"/>
                    <a:gd name="connsiteX38" fmla="*/ 391000 w 636059"/>
                    <a:gd name="connsiteY38" fmla="*/ 550450 h 753231"/>
                    <a:gd name="connsiteX39" fmla="*/ 322420 w 636059"/>
                    <a:gd name="connsiteY39" fmla="*/ 625983 h 753231"/>
                    <a:gd name="connsiteX40" fmla="*/ 319658 w 636059"/>
                    <a:gd name="connsiteY40" fmla="*/ 636365 h 753231"/>
                    <a:gd name="connsiteX41" fmla="*/ 349090 w 636059"/>
                    <a:gd name="connsiteY41" fmla="*/ 707327 h 753231"/>
                    <a:gd name="connsiteX42" fmla="*/ 402144 w 636059"/>
                    <a:gd name="connsiteY42" fmla="*/ 647510 h 753231"/>
                    <a:gd name="connsiteX43" fmla="*/ 404335 w 636059"/>
                    <a:gd name="connsiteY43" fmla="*/ 637985 h 753231"/>
                    <a:gd name="connsiteX44" fmla="*/ 391000 w 636059"/>
                    <a:gd name="connsiteY44" fmla="*/ 550450 h 753231"/>
                    <a:gd name="connsiteX45" fmla="*/ 43147 w 636059"/>
                    <a:gd name="connsiteY45" fmla="*/ 482822 h 753231"/>
                    <a:gd name="connsiteX46" fmla="*/ 117632 w 636059"/>
                    <a:gd name="connsiteY46" fmla="*/ 489109 h 753231"/>
                    <a:gd name="connsiteX47" fmla="*/ 130396 w 636059"/>
                    <a:gd name="connsiteY47" fmla="*/ 480441 h 753231"/>
                    <a:gd name="connsiteX48" fmla="*/ 168496 w 636059"/>
                    <a:gd name="connsiteY48" fmla="*/ 415862 h 753231"/>
                    <a:gd name="connsiteX49" fmla="*/ 179640 w 636059"/>
                    <a:gd name="connsiteY49" fmla="*/ 395764 h 753231"/>
                    <a:gd name="connsiteX50" fmla="*/ 94772 w 636059"/>
                    <a:gd name="connsiteY50" fmla="*/ 409004 h 753231"/>
                    <a:gd name="connsiteX51" fmla="*/ 83914 w 636059"/>
                    <a:gd name="connsiteY51" fmla="*/ 414909 h 753231"/>
                    <a:gd name="connsiteX52" fmla="*/ 43147 w 636059"/>
                    <a:gd name="connsiteY52" fmla="*/ 482822 h 753231"/>
                    <a:gd name="connsiteX53" fmla="*/ 225265 w 636059"/>
                    <a:gd name="connsiteY53" fmla="*/ 660654 h 753231"/>
                    <a:gd name="connsiteX54" fmla="*/ 125157 w 636059"/>
                    <a:gd name="connsiteY54" fmla="*/ 586550 h 753231"/>
                    <a:gd name="connsiteX55" fmla="*/ 118299 w 636059"/>
                    <a:gd name="connsiteY55" fmla="*/ 602075 h 753231"/>
                    <a:gd name="connsiteX56" fmla="*/ 121915 w 636059"/>
                    <a:gd name="connsiteY56" fmla="*/ 627957 h 753231"/>
                    <a:gd name="connsiteX57" fmla="*/ 123347 w 636059"/>
                    <a:gd name="connsiteY57" fmla="*/ 628936 h 753231"/>
                    <a:gd name="connsiteX58" fmla="*/ 168496 w 636059"/>
                    <a:gd name="connsiteY58" fmla="*/ 664083 h 753231"/>
                    <a:gd name="connsiteX59" fmla="*/ 225265 w 636059"/>
                    <a:gd name="connsiteY59" fmla="*/ 660654 h 7532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636059" h="753231">
                      <a:moveTo>
                        <a:pt x="634840" y="11525"/>
                      </a:moveTo>
                      <a:cubicBezTo>
                        <a:pt x="634840" y="27051"/>
                        <a:pt x="635602" y="42482"/>
                        <a:pt x="635888" y="57912"/>
                      </a:cubicBezTo>
                      <a:cubicBezTo>
                        <a:pt x="637697" y="151924"/>
                        <a:pt x="625696" y="243364"/>
                        <a:pt x="575023" y="324612"/>
                      </a:cubicBezTo>
                      <a:cubicBezTo>
                        <a:pt x="548604" y="363795"/>
                        <a:pt x="519983" y="401448"/>
                        <a:pt x="489298" y="437388"/>
                      </a:cubicBezTo>
                      <a:cubicBezTo>
                        <a:pt x="469391" y="462344"/>
                        <a:pt x="447102" y="485013"/>
                        <a:pt x="426909" y="510159"/>
                      </a:cubicBezTo>
                      <a:cubicBezTo>
                        <a:pt x="422483" y="516127"/>
                        <a:pt x="420445" y="523532"/>
                        <a:pt x="421194" y="530924"/>
                      </a:cubicBezTo>
                      <a:cubicBezTo>
                        <a:pt x="425861" y="566642"/>
                        <a:pt x="432434" y="602075"/>
                        <a:pt x="436625" y="637794"/>
                      </a:cubicBezTo>
                      <a:cubicBezTo>
                        <a:pt x="437491" y="647264"/>
                        <a:pt x="434847" y="656722"/>
                        <a:pt x="429195" y="664369"/>
                      </a:cubicBezTo>
                      <a:cubicBezTo>
                        <a:pt x="406811" y="691896"/>
                        <a:pt x="382999" y="718185"/>
                        <a:pt x="359282" y="744569"/>
                      </a:cubicBezTo>
                      <a:cubicBezTo>
                        <a:pt x="347090" y="758095"/>
                        <a:pt x="334517" y="755523"/>
                        <a:pt x="327278" y="738664"/>
                      </a:cubicBezTo>
                      <a:cubicBezTo>
                        <a:pt x="315943" y="712565"/>
                        <a:pt x="304989" y="686276"/>
                        <a:pt x="294416" y="661416"/>
                      </a:cubicBezTo>
                      <a:cubicBezTo>
                        <a:pt x="262031" y="667417"/>
                        <a:pt x="242124" y="691420"/>
                        <a:pt x="217359" y="707898"/>
                      </a:cubicBezTo>
                      <a:cubicBezTo>
                        <a:pt x="207990" y="712853"/>
                        <a:pt x="196980" y="713682"/>
                        <a:pt x="186974" y="710184"/>
                      </a:cubicBezTo>
                      <a:cubicBezTo>
                        <a:pt x="149331" y="695186"/>
                        <a:pt x="115985" y="671101"/>
                        <a:pt x="89915" y="640080"/>
                      </a:cubicBezTo>
                      <a:cubicBezTo>
                        <a:pt x="79143" y="629234"/>
                        <a:pt x="76851" y="612569"/>
                        <a:pt x="84295" y="599218"/>
                      </a:cubicBezTo>
                      <a:cubicBezTo>
                        <a:pt x="90841" y="586544"/>
                        <a:pt x="96167" y="573276"/>
                        <a:pt x="100202" y="559594"/>
                      </a:cubicBezTo>
                      <a:cubicBezTo>
                        <a:pt x="102585" y="547022"/>
                        <a:pt x="103986" y="534283"/>
                        <a:pt x="104393" y="521494"/>
                      </a:cubicBezTo>
                      <a:lnTo>
                        <a:pt x="21906" y="513112"/>
                      </a:lnTo>
                      <a:cubicBezTo>
                        <a:pt x="-382" y="510921"/>
                        <a:pt x="-5621" y="500920"/>
                        <a:pt x="5999" y="481584"/>
                      </a:cubicBezTo>
                      <a:cubicBezTo>
                        <a:pt x="22954" y="453009"/>
                        <a:pt x="40289" y="425196"/>
                        <a:pt x="56768" y="396716"/>
                      </a:cubicBezTo>
                      <a:cubicBezTo>
                        <a:pt x="62442" y="385928"/>
                        <a:pt x="73202" y="378755"/>
                        <a:pt x="85343" y="377666"/>
                      </a:cubicBezTo>
                      <a:cubicBezTo>
                        <a:pt x="119537" y="373190"/>
                        <a:pt x="153542" y="366903"/>
                        <a:pt x="187832" y="362426"/>
                      </a:cubicBezTo>
                      <a:cubicBezTo>
                        <a:pt x="196996" y="361476"/>
                        <a:pt x="205060" y="355957"/>
                        <a:pt x="209263" y="347758"/>
                      </a:cubicBezTo>
                      <a:cubicBezTo>
                        <a:pt x="243362" y="293656"/>
                        <a:pt x="276700" y="238982"/>
                        <a:pt x="312895" y="185833"/>
                      </a:cubicBezTo>
                      <a:cubicBezTo>
                        <a:pt x="364997" y="109633"/>
                        <a:pt x="439482" y="63056"/>
                        <a:pt x="524350" y="31909"/>
                      </a:cubicBezTo>
                      <a:cubicBezTo>
                        <a:pt x="553782" y="21146"/>
                        <a:pt x="584643" y="14383"/>
                        <a:pt x="614837" y="5620"/>
                      </a:cubicBezTo>
                      <a:cubicBezTo>
                        <a:pt x="616946" y="4634"/>
                        <a:pt x="618903" y="3351"/>
                        <a:pt x="620648" y="1810"/>
                      </a:cubicBezTo>
                      <a:lnTo>
                        <a:pt x="632363" y="0"/>
                      </a:lnTo>
                      <a:close/>
                      <a:moveTo>
                        <a:pt x="603693" y="40100"/>
                      </a:moveTo>
                      <a:cubicBezTo>
                        <a:pt x="597121" y="41720"/>
                        <a:pt x="592358" y="42767"/>
                        <a:pt x="587786" y="44101"/>
                      </a:cubicBezTo>
                      <a:cubicBezTo>
                        <a:pt x="477677" y="75819"/>
                        <a:pt x="382808" y="129350"/>
                        <a:pt x="321086" y="230695"/>
                      </a:cubicBezTo>
                      <a:cubicBezTo>
                        <a:pt x="260888" y="330454"/>
                        <a:pt x="200373" y="430022"/>
                        <a:pt x="139540" y="529400"/>
                      </a:cubicBezTo>
                      <a:cubicBezTo>
                        <a:pt x="134702" y="536461"/>
                        <a:pt x="135887" y="546021"/>
                        <a:pt x="142302" y="551688"/>
                      </a:cubicBezTo>
                      <a:cubicBezTo>
                        <a:pt x="172616" y="588204"/>
                        <a:pt x="211581" y="616560"/>
                        <a:pt x="255650" y="634175"/>
                      </a:cubicBezTo>
                      <a:cubicBezTo>
                        <a:pt x="262822" y="637827"/>
                        <a:pt x="271591" y="635584"/>
                        <a:pt x="276129" y="628936"/>
                      </a:cubicBezTo>
                      <a:cubicBezTo>
                        <a:pt x="340994" y="555593"/>
                        <a:pt x="407002" y="483394"/>
                        <a:pt x="470724" y="409194"/>
                      </a:cubicBezTo>
                      <a:cubicBezTo>
                        <a:pt x="501154" y="375036"/>
                        <a:pt x="528502" y="338253"/>
                        <a:pt x="552449" y="299276"/>
                      </a:cubicBezTo>
                      <a:cubicBezTo>
                        <a:pt x="598740" y="220313"/>
                        <a:pt x="606836" y="132207"/>
                        <a:pt x="603693" y="40291"/>
                      </a:cubicBezTo>
                      <a:close/>
                      <a:moveTo>
                        <a:pt x="391000" y="550450"/>
                      </a:moveTo>
                      <a:cubicBezTo>
                        <a:pt x="366425" y="577406"/>
                        <a:pt x="344232" y="601504"/>
                        <a:pt x="322420" y="625983"/>
                      </a:cubicBezTo>
                      <a:cubicBezTo>
                        <a:pt x="319968" y="628843"/>
                        <a:pt x="318951" y="632665"/>
                        <a:pt x="319658" y="636365"/>
                      </a:cubicBezTo>
                      <a:cubicBezTo>
                        <a:pt x="329183" y="659511"/>
                        <a:pt x="338708" y="682276"/>
                        <a:pt x="349090" y="707327"/>
                      </a:cubicBezTo>
                      <a:cubicBezTo>
                        <a:pt x="368140" y="686276"/>
                        <a:pt x="385190" y="667036"/>
                        <a:pt x="402144" y="647510"/>
                      </a:cubicBezTo>
                      <a:cubicBezTo>
                        <a:pt x="404028" y="644715"/>
                        <a:pt x="404808" y="641321"/>
                        <a:pt x="404335" y="637985"/>
                      </a:cubicBezTo>
                      <a:cubicBezTo>
                        <a:pt x="400239" y="609981"/>
                        <a:pt x="395858" y="582263"/>
                        <a:pt x="391000" y="550450"/>
                      </a:cubicBezTo>
                      <a:close/>
                      <a:moveTo>
                        <a:pt x="43147" y="482822"/>
                      </a:moveTo>
                      <a:cubicBezTo>
                        <a:pt x="69912" y="485299"/>
                        <a:pt x="93725" y="487870"/>
                        <a:pt x="117632" y="489109"/>
                      </a:cubicBezTo>
                      <a:cubicBezTo>
                        <a:pt x="122919" y="488149"/>
                        <a:pt x="127554" y="485001"/>
                        <a:pt x="130396" y="480441"/>
                      </a:cubicBezTo>
                      <a:cubicBezTo>
                        <a:pt x="143636" y="459200"/>
                        <a:pt x="155923" y="437483"/>
                        <a:pt x="168496" y="415862"/>
                      </a:cubicBezTo>
                      <a:cubicBezTo>
                        <a:pt x="171925" y="409956"/>
                        <a:pt x="175259" y="403765"/>
                        <a:pt x="179640" y="395764"/>
                      </a:cubicBezTo>
                      <a:cubicBezTo>
                        <a:pt x="149160" y="400526"/>
                        <a:pt x="121919" y="404527"/>
                        <a:pt x="94772" y="409004"/>
                      </a:cubicBezTo>
                      <a:cubicBezTo>
                        <a:pt x="90547" y="409562"/>
                        <a:pt x="86679" y="411666"/>
                        <a:pt x="83914" y="414909"/>
                      </a:cubicBezTo>
                      <a:cubicBezTo>
                        <a:pt x="70388" y="436436"/>
                        <a:pt x="57625" y="458438"/>
                        <a:pt x="43147" y="482822"/>
                      </a:cubicBezTo>
                      <a:close/>
                      <a:moveTo>
                        <a:pt x="225265" y="660654"/>
                      </a:moveTo>
                      <a:lnTo>
                        <a:pt x="125157" y="586550"/>
                      </a:lnTo>
                      <a:cubicBezTo>
                        <a:pt x="123347" y="590550"/>
                        <a:pt x="121347" y="596646"/>
                        <a:pt x="118299" y="602075"/>
                      </a:cubicBezTo>
                      <a:cubicBezTo>
                        <a:pt x="112151" y="610221"/>
                        <a:pt x="113770" y="621808"/>
                        <a:pt x="121915" y="627957"/>
                      </a:cubicBezTo>
                      <a:cubicBezTo>
                        <a:pt x="122377" y="628305"/>
                        <a:pt x="122855" y="628632"/>
                        <a:pt x="123347" y="628936"/>
                      </a:cubicBezTo>
                      <a:cubicBezTo>
                        <a:pt x="137731" y="641483"/>
                        <a:pt x="152804" y="653217"/>
                        <a:pt x="168496" y="664083"/>
                      </a:cubicBezTo>
                      <a:cubicBezTo>
                        <a:pt x="206691" y="687705"/>
                        <a:pt x="195642" y="685229"/>
                        <a:pt x="225265" y="66065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1" name="Freeform 30">
                  <a:extLst>
                    <a:ext uri="{FF2B5EF4-FFF2-40B4-BE49-F238E27FC236}">
                      <a16:creationId xmlns:a16="http://schemas.microsoft.com/office/drawing/2014/main" id="{E139202A-D0C6-B841-989B-42BCB532718A}"/>
                    </a:ext>
                  </a:extLst>
                </p:cNvPr>
                <p:cNvSpPr/>
                <p:nvPr/>
              </p:nvSpPr>
              <p:spPr>
                <a:xfrm>
                  <a:off x="4886472" y="5342819"/>
                  <a:ext cx="172878" cy="191166"/>
                </a:xfrm>
                <a:custGeom>
                  <a:avLst/>
                  <a:gdLst>
                    <a:gd name="connsiteX0" fmla="*/ 0 w 172878"/>
                    <a:gd name="connsiteY0" fmla="*/ 124587 h 191166"/>
                    <a:gd name="connsiteX1" fmla="*/ 3620 w 172878"/>
                    <a:gd name="connsiteY1" fmla="*/ 88964 h 191166"/>
                    <a:gd name="connsiteX2" fmla="*/ 34100 w 172878"/>
                    <a:gd name="connsiteY2" fmla="*/ 35433 h 191166"/>
                    <a:gd name="connsiteX3" fmla="*/ 80200 w 172878"/>
                    <a:gd name="connsiteY3" fmla="*/ 0 h 191166"/>
                    <a:gd name="connsiteX4" fmla="*/ 102489 w 172878"/>
                    <a:gd name="connsiteY4" fmla="*/ 22670 h 191166"/>
                    <a:gd name="connsiteX5" fmla="*/ 59341 w 172878"/>
                    <a:gd name="connsiteY5" fmla="*/ 56293 h 191166"/>
                    <a:gd name="connsiteX6" fmla="*/ 34576 w 172878"/>
                    <a:gd name="connsiteY6" fmla="*/ 100679 h 191166"/>
                    <a:gd name="connsiteX7" fmla="*/ 35433 w 172878"/>
                    <a:gd name="connsiteY7" fmla="*/ 154781 h 191166"/>
                    <a:gd name="connsiteX8" fmla="*/ 104489 w 172878"/>
                    <a:gd name="connsiteY8" fmla="*/ 132398 h 191166"/>
                    <a:gd name="connsiteX9" fmla="*/ 125825 w 172878"/>
                    <a:gd name="connsiteY9" fmla="*/ 103823 h 191166"/>
                    <a:gd name="connsiteX10" fmla="*/ 143732 w 172878"/>
                    <a:gd name="connsiteY10" fmla="*/ 53912 h 191166"/>
                    <a:gd name="connsiteX11" fmla="*/ 172879 w 172878"/>
                    <a:gd name="connsiteY11" fmla="*/ 66770 h 191166"/>
                    <a:gd name="connsiteX12" fmla="*/ 156115 w 172878"/>
                    <a:gd name="connsiteY12" fmla="*/ 116300 h 191166"/>
                    <a:gd name="connsiteX13" fmla="*/ 95726 w 172878"/>
                    <a:gd name="connsiteY13" fmla="*/ 172688 h 191166"/>
                    <a:gd name="connsiteX14" fmla="*/ 74676 w 172878"/>
                    <a:gd name="connsiteY14" fmla="*/ 181642 h 191166"/>
                    <a:gd name="connsiteX15" fmla="*/ 10287 w 172878"/>
                    <a:gd name="connsiteY15" fmla="*/ 191167 h 1911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72878" h="191166">
                      <a:moveTo>
                        <a:pt x="0" y="124587"/>
                      </a:moveTo>
                      <a:cubicBezTo>
                        <a:pt x="1143" y="112681"/>
                        <a:pt x="2000" y="100775"/>
                        <a:pt x="3620" y="88964"/>
                      </a:cubicBezTo>
                      <a:cubicBezTo>
                        <a:pt x="5793" y="67626"/>
                        <a:pt x="16859" y="48192"/>
                        <a:pt x="34100" y="35433"/>
                      </a:cubicBezTo>
                      <a:cubicBezTo>
                        <a:pt x="49435" y="24098"/>
                        <a:pt x="64389" y="12287"/>
                        <a:pt x="80200" y="0"/>
                      </a:cubicBezTo>
                      <a:lnTo>
                        <a:pt x="102489" y="22670"/>
                      </a:lnTo>
                      <a:cubicBezTo>
                        <a:pt x="87820" y="34195"/>
                        <a:pt x="73914" y="46006"/>
                        <a:pt x="59341" y="56293"/>
                      </a:cubicBezTo>
                      <a:cubicBezTo>
                        <a:pt x="44008" y="65850"/>
                        <a:pt x="34656" y="82611"/>
                        <a:pt x="34576" y="100679"/>
                      </a:cubicBezTo>
                      <a:cubicBezTo>
                        <a:pt x="34576" y="118301"/>
                        <a:pt x="35147" y="135827"/>
                        <a:pt x="35433" y="154781"/>
                      </a:cubicBezTo>
                      <a:cubicBezTo>
                        <a:pt x="60033" y="153593"/>
                        <a:pt x="83870" y="145866"/>
                        <a:pt x="104489" y="132398"/>
                      </a:cubicBezTo>
                      <a:cubicBezTo>
                        <a:pt x="113810" y="124741"/>
                        <a:pt x="121132" y="114935"/>
                        <a:pt x="125825" y="103823"/>
                      </a:cubicBezTo>
                      <a:cubicBezTo>
                        <a:pt x="133064" y="88392"/>
                        <a:pt x="137541" y="71628"/>
                        <a:pt x="143732" y="53912"/>
                      </a:cubicBezTo>
                      <a:lnTo>
                        <a:pt x="172879" y="66770"/>
                      </a:lnTo>
                      <a:cubicBezTo>
                        <a:pt x="167068" y="84106"/>
                        <a:pt x="161735" y="100298"/>
                        <a:pt x="156115" y="116300"/>
                      </a:cubicBezTo>
                      <a:cubicBezTo>
                        <a:pt x="145828" y="145542"/>
                        <a:pt x="123825" y="162306"/>
                        <a:pt x="95726" y="172688"/>
                      </a:cubicBezTo>
                      <a:cubicBezTo>
                        <a:pt x="88582" y="175260"/>
                        <a:pt x="81724" y="178594"/>
                        <a:pt x="74676" y="181642"/>
                      </a:cubicBezTo>
                      <a:lnTo>
                        <a:pt x="10287" y="19116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32" name="Freeform 31">
                  <a:extLst>
                    <a:ext uri="{FF2B5EF4-FFF2-40B4-BE49-F238E27FC236}">
                      <a16:creationId xmlns:a16="http://schemas.microsoft.com/office/drawing/2014/main" id="{998F2FCB-3291-F742-BCD9-D54286202EDA}"/>
                    </a:ext>
                  </a:extLst>
                </p:cNvPr>
                <p:cNvSpPr/>
                <p:nvPr/>
              </p:nvSpPr>
              <p:spPr>
                <a:xfrm>
                  <a:off x="5252117" y="4870617"/>
                  <a:ext cx="152529" cy="152340"/>
                </a:xfrm>
                <a:custGeom>
                  <a:avLst/>
                  <a:gdLst>
                    <a:gd name="connsiteX0" fmla="*/ 973 w 152529"/>
                    <a:gd name="connsiteY0" fmla="*/ 87488 h 152340"/>
                    <a:gd name="connsiteX1" fmla="*/ 63532 w 152529"/>
                    <a:gd name="connsiteY1" fmla="*/ 903 h 152340"/>
                    <a:gd name="connsiteX2" fmla="*/ 64123 w 152529"/>
                    <a:gd name="connsiteY2" fmla="*/ 810 h 152340"/>
                    <a:gd name="connsiteX3" fmla="*/ 151753 w 152529"/>
                    <a:gd name="connsiteY3" fmla="*/ 65580 h 152340"/>
                    <a:gd name="connsiteX4" fmla="*/ 87722 w 152529"/>
                    <a:gd name="connsiteY4" fmla="*/ 151082 h 152340"/>
                    <a:gd name="connsiteX5" fmla="*/ 86031 w 152529"/>
                    <a:gd name="connsiteY5" fmla="*/ 151305 h 152340"/>
                    <a:gd name="connsiteX6" fmla="*/ 1502 w 152529"/>
                    <a:gd name="connsiteY6" fmla="*/ 91197 h 152340"/>
                    <a:gd name="connsiteX7" fmla="*/ 973 w 152529"/>
                    <a:gd name="connsiteY7" fmla="*/ 87488 h 152340"/>
                    <a:gd name="connsiteX8" fmla="*/ 119464 w 152529"/>
                    <a:gd name="connsiteY8" fmla="*/ 69486 h 152340"/>
                    <a:gd name="connsiteX9" fmla="*/ 69430 w 152529"/>
                    <a:gd name="connsiteY9" fmla="*/ 32933 h 152340"/>
                    <a:gd name="connsiteX10" fmla="*/ 68981 w 152529"/>
                    <a:gd name="connsiteY10" fmla="*/ 33005 h 152340"/>
                    <a:gd name="connsiteX11" fmla="*/ 31738 w 152529"/>
                    <a:gd name="connsiteY11" fmla="*/ 83202 h 152340"/>
                    <a:gd name="connsiteX12" fmla="*/ 81935 w 152529"/>
                    <a:gd name="connsiteY12" fmla="*/ 120825 h 152340"/>
                    <a:gd name="connsiteX13" fmla="*/ 119584 w 152529"/>
                    <a:gd name="connsiteY13" fmla="*/ 70261 h 152340"/>
                    <a:gd name="connsiteX14" fmla="*/ 119464 w 152529"/>
                    <a:gd name="connsiteY14" fmla="*/ 69486 h 1523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52529" h="152340">
                      <a:moveTo>
                        <a:pt x="973" y="87488"/>
                      </a:moveTo>
                      <a:cubicBezTo>
                        <a:pt x="-5662" y="46303"/>
                        <a:pt x="22347" y="7538"/>
                        <a:pt x="63532" y="903"/>
                      </a:cubicBezTo>
                      <a:cubicBezTo>
                        <a:pt x="63729" y="872"/>
                        <a:pt x="63926" y="841"/>
                        <a:pt x="64123" y="810"/>
                      </a:cubicBezTo>
                      <a:cubicBezTo>
                        <a:pt x="106152" y="-5281"/>
                        <a:pt x="145245" y="23614"/>
                        <a:pt x="151753" y="65580"/>
                      </a:cubicBezTo>
                      <a:cubicBezTo>
                        <a:pt x="157682" y="106873"/>
                        <a:pt x="129014" y="145153"/>
                        <a:pt x="87722" y="151082"/>
                      </a:cubicBezTo>
                      <a:cubicBezTo>
                        <a:pt x="87159" y="151163"/>
                        <a:pt x="86595" y="151237"/>
                        <a:pt x="86031" y="151305"/>
                      </a:cubicBezTo>
                      <a:cubicBezTo>
                        <a:pt x="46090" y="158049"/>
                        <a:pt x="8245" y="131137"/>
                        <a:pt x="1502" y="91197"/>
                      </a:cubicBezTo>
                      <a:cubicBezTo>
                        <a:pt x="1294" y="89965"/>
                        <a:pt x="1117" y="88728"/>
                        <a:pt x="973" y="87488"/>
                      </a:cubicBezTo>
                      <a:close/>
                      <a:moveTo>
                        <a:pt x="119464" y="69486"/>
                      </a:moveTo>
                      <a:cubicBezTo>
                        <a:pt x="115741" y="45575"/>
                        <a:pt x="93340" y="29210"/>
                        <a:pt x="69430" y="32933"/>
                      </a:cubicBezTo>
                      <a:cubicBezTo>
                        <a:pt x="69280" y="32956"/>
                        <a:pt x="69131" y="32980"/>
                        <a:pt x="68981" y="33005"/>
                      </a:cubicBezTo>
                      <a:cubicBezTo>
                        <a:pt x="45008" y="36867"/>
                        <a:pt x="28484" y="59138"/>
                        <a:pt x="31738" y="83202"/>
                      </a:cubicBezTo>
                      <a:cubicBezTo>
                        <a:pt x="36043" y="106949"/>
                        <a:pt x="57934" y="123356"/>
                        <a:pt x="81935" y="120825"/>
                      </a:cubicBezTo>
                      <a:cubicBezTo>
                        <a:pt x="106294" y="117259"/>
                        <a:pt x="123151" y="94620"/>
                        <a:pt x="119584" y="70261"/>
                      </a:cubicBezTo>
                      <a:cubicBezTo>
                        <a:pt x="119546" y="70002"/>
                        <a:pt x="119506" y="69744"/>
                        <a:pt x="119464" y="6948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38" name="Graphic 16">
            <a:extLst>
              <a:ext uri="{FF2B5EF4-FFF2-40B4-BE49-F238E27FC236}">
                <a16:creationId xmlns:a16="http://schemas.microsoft.com/office/drawing/2014/main" id="{F7FDA5FC-90CA-D949-B4BA-434513DE4759}"/>
              </a:ext>
            </a:extLst>
          </p:cNvPr>
          <p:cNvGrpSpPr>
            <a:grpSpLocks noChangeAspect="1"/>
          </p:cNvGrpSpPr>
          <p:nvPr/>
        </p:nvGrpSpPr>
        <p:grpSpPr>
          <a:xfrm>
            <a:off x="10212397" y="1383236"/>
            <a:ext cx="1371600" cy="1371600"/>
            <a:chOff x="846632" y="2209800"/>
            <a:chExt cx="1714500" cy="1714500"/>
          </a:xfrm>
        </p:grpSpPr>
        <p:sp>
          <p:nvSpPr>
            <p:cNvPr id="39" name="Freeform: Shape 176">
              <a:extLst>
                <a:ext uri="{FF2B5EF4-FFF2-40B4-BE49-F238E27FC236}">
                  <a16:creationId xmlns:a16="http://schemas.microsoft.com/office/drawing/2014/main" id="{31AD1195-9741-BD45-B2EB-C7B38A669807}"/>
                </a:ext>
              </a:extLst>
            </p:cNvPr>
            <p:cNvSpPr/>
            <p:nvPr/>
          </p:nvSpPr>
          <p:spPr>
            <a:xfrm>
              <a:off x="1042371" y="2420398"/>
              <a:ext cx="1285875" cy="1285875"/>
            </a:xfrm>
            <a:custGeom>
              <a:avLst/>
              <a:gdLst>
                <a:gd name="connsiteX0" fmla="*/ 646557 w 1285875"/>
                <a:gd name="connsiteY0" fmla="*/ 1285970 h 1285875"/>
                <a:gd name="connsiteX1" fmla="*/ 7144 w 1285875"/>
                <a:gd name="connsiteY1" fmla="*/ 646557 h 1285875"/>
                <a:gd name="connsiteX2" fmla="*/ 646557 w 1285875"/>
                <a:gd name="connsiteY2" fmla="*/ 7144 h 1285875"/>
                <a:gd name="connsiteX3" fmla="*/ 1285970 w 1285875"/>
                <a:gd name="connsiteY3" fmla="*/ 646557 h 1285875"/>
                <a:gd name="connsiteX4" fmla="*/ 1285970 w 1285875"/>
                <a:gd name="connsiteY4" fmla="*/ 646652 h 1285875"/>
                <a:gd name="connsiteX5" fmla="*/ 646557 w 1285875"/>
                <a:gd name="connsiteY5" fmla="*/ 1285970 h 1285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85875" h="1285875">
                  <a:moveTo>
                    <a:pt x="646557" y="1285970"/>
                  </a:moveTo>
                  <a:cubicBezTo>
                    <a:pt x="293419" y="1285970"/>
                    <a:pt x="7144" y="999695"/>
                    <a:pt x="7144" y="646557"/>
                  </a:cubicBezTo>
                  <a:cubicBezTo>
                    <a:pt x="7144" y="293419"/>
                    <a:pt x="293419" y="7144"/>
                    <a:pt x="646557" y="7144"/>
                  </a:cubicBezTo>
                  <a:cubicBezTo>
                    <a:pt x="999695" y="7144"/>
                    <a:pt x="1285970" y="293419"/>
                    <a:pt x="1285970" y="646557"/>
                  </a:cubicBezTo>
                  <a:cubicBezTo>
                    <a:pt x="1285970" y="646589"/>
                    <a:pt x="1285970" y="646621"/>
                    <a:pt x="1285970" y="646652"/>
                  </a:cubicBezTo>
                  <a:cubicBezTo>
                    <a:pt x="1285550" y="999601"/>
                    <a:pt x="999506" y="1285603"/>
                    <a:pt x="646557" y="128597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177">
              <a:extLst>
                <a:ext uri="{FF2B5EF4-FFF2-40B4-BE49-F238E27FC236}">
                  <a16:creationId xmlns:a16="http://schemas.microsoft.com/office/drawing/2014/main" id="{21DD262C-A3C8-0C4B-B88E-752862431645}"/>
                </a:ext>
              </a:extLst>
            </p:cNvPr>
            <p:cNvSpPr/>
            <p:nvPr/>
          </p:nvSpPr>
          <p:spPr>
            <a:xfrm>
              <a:off x="1427464" y="2858016"/>
              <a:ext cx="523875" cy="495300"/>
            </a:xfrm>
            <a:custGeom>
              <a:avLst/>
              <a:gdLst>
                <a:gd name="connsiteX0" fmla="*/ 249081 w 523875"/>
                <a:gd name="connsiteY0" fmla="*/ 428966 h 495300"/>
                <a:gd name="connsiteX1" fmla="*/ 273846 w 523875"/>
                <a:gd name="connsiteY1" fmla="*/ 428966 h 495300"/>
                <a:gd name="connsiteX2" fmla="*/ 273846 w 523875"/>
                <a:gd name="connsiteY2" fmla="*/ 428966 h 495300"/>
                <a:gd name="connsiteX3" fmla="*/ 390718 w 523875"/>
                <a:gd name="connsiteY3" fmla="*/ 490402 h 495300"/>
                <a:gd name="connsiteX4" fmla="*/ 405196 w 523875"/>
                <a:gd name="connsiteY4" fmla="*/ 494308 h 495300"/>
                <a:gd name="connsiteX5" fmla="*/ 422055 w 523875"/>
                <a:gd name="connsiteY5" fmla="*/ 486688 h 495300"/>
                <a:gd name="connsiteX6" fmla="*/ 427579 w 523875"/>
                <a:gd name="connsiteY6" fmla="*/ 470209 h 495300"/>
                <a:gd name="connsiteX7" fmla="*/ 427579 w 523875"/>
                <a:gd name="connsiteY7" fmla="*/ 464018 h 495300"/>
                <a:gd name="connsiteX8" fmla="*/ 405196 w 523875"/>
                <a:gd name="connsiteY8" fmla="*/ 333811 h 495300"/>
                <a:gd name="connsiteX9" fmla="*/ 405196 w 523875"/>
                <a:gd name="connsiteY9" fmla="*/ 330859 h 495300"/>
                <a:gd name="connsiteX10" fmla="*/ 413006 w 523875"/>
                <a:gd name="connsiteY10" fmla="*/ 310189 h 495300"/>
                <a:gd name="connsiteX11" fmla="*/ 507685 w 523875"/>
                <a:gd name="connsiteY11" fmla="*/ 217987 h 495300"/>
                <a:gd name="connsiteX12" fmla="*/ 517210 w 523875"/>
                <a:gd name="connsiteY12" fmla="*/ 198366 h 495300"/>
                <a:gd name="connsiteX13" fmla="*/ 516162 w 523875"/>
                <a:gd name="connsiteY13" fmla="*/ 191698 h 495300"/>
                <a:gd name="connsiteX14" fmla="*/ 493969 w 523875"/>
                <a:gd name="connsiteY14" fmla="*/ 175220 h 495300"/>
                <a:gd name="connsiteX15" fmla="*/ 363190 w 523875"/>
                <a:gd name="connsiteY15" fmla="*/ 156170 h 495300"/>
                <a:gd name="connsiteX16" fmla="*/ 343093 w 523875"/>
                <a:gd name="connsiteY16" fmla="*/ 141597 h 495300"/>
                <a:gd name="connsiteX17" fmla="*/ 284704 w 523875"/>
                <a:gd name="connsiteY17" fmla="*/ 23106 h 495300"/>
                <a:gd name="connsiteX18" fmla="*/ 254369 w 523875"/>
                <a:gd name="connsiteY18" fmla="*/ 8484 h 495300"/>
                <a:gd name="connsiteX19" fmla="*/ 239746 w 523875"/>
                <a:gd name="connsiteY19" fmla="*/ 23106 h 495300"/>
                <a:gd name="connsiteX20" fmla="*/ 181168 w 523875"/>
                <a:gd name="connsiteY20" fmla="*/ 141597 h 495300"/>
                <a:gd name="connsiteX21" fmla="*/ 172595 w 523875"/>
                <a:gd name="connsiteY21" fmla="*/ 151122 h 495300"/>
                <a:gd name="connsiteX22" fmla="*/ 161165 w 523875"/>
                <a:gd name="connsiteY22" fmla="*/ 156361 h 495300"/>
                <a:gd name="connsiteX23" fmla="*/ 30292 w 523875"/>
                <a:gd name="connsiteY23" fmla="*/ 175411 h 495300"/>
                <a:gd name="connsiteX24" fmla="*/ 8194 w 523875"/>
                <a:gd name="connsiteY24" fmla="*/ 191889 h 495300"/>
                <a:gd name="connsiteX25" fmla="*/ 7146 w 523875"/>
                <a:gd name="connsiteY25" fmla="*/ 198556 h 495300"/>
                <a:gd name="connsiteX26" fmla="*/ 16671 w 523875"/>
                <a:gd name="connsiteY26" fmla="*/ 218178 h 495300"/>
                <a:gd name="connsiteX27" fmla="*/ 111254 w 523875"/>
                <a:gd name="connsiteY27" fmla="*/ 310380 h 495300"/>
                <a:gd name="connsiteX28" fmla="*/ 119160 w 523875"/>
                <a:gd name="connsiteY28" fmla="*/ 331049 h 495300"/>
                <a:gd name="connsiteX29" fmla="*/ 119160 w 523875"/>
                <a:gd name="connsiteY29" fmla="*/ 334002 h 495300"/>
                <a:gd name="connsiteX30" fmla="*/ 95443 w 523875"/>
                <a:gd name="connsiteY30" fmla="*/ 464018 h 495300"/>
                <a:gd name="connsiteX31" fmla="*/ 95443 w 523875"/>
                <a:gd name="connsiteY31" fmla="*/ 470209 h 495300"/>
                <a:gd name="connsiteX32" fmla="*/ 100967 w 523875"/>
                <a:gd name="connsiteY32" fmla="*/ 486688 h 495300"/>
                <a:gd name="connsiteX33" fmla="*/ 117826 w 523875"/>
                <a:gd name="connsiteY33" fmla="*/ 494212 h 495300"/>
                <a:gd name="connsiteX34" fmla="*/ 132304 w 523875"/>
                <a:gd name="connsiteY34" fmla="*/ 490402 h 495300"/>
                <a:gd name="connsiteX35" fmla="*/ 130495 w 523875"/>
                <a:gd name="connsiteY35" fmla="*/ 289615 h 495300"/>
                <a:gd name="connsiteX36" fmla="*/ 41436 w 523875"/>
                <a:gd name="connsiteY36" fmla="*/ 202652 h 495300"/>
                <a:gd name="connsiteX37" fmla="*/ 164594 w 523875"/>
                <a:gd name="connsiteY37" fmla="*/ 184745 h 495300"/>
                <a:gd name="connsiteX38" fmla="*/ 206314 w 523875"/>
                <a:gd name="connsiteY38" fmla="*/ 154456 h 495300"/>
                <a:gd name="connsiteX39" fmla="*/ 261463 w 523875"/>
                <a:gd name="connsiteY39" fmla="*/ 42823 h 495300"/>
                <a:gd name="connsiteX40" fmla="*/ 316613 w 523875"/>
                <a:gd name="connsiteY40" fmla="*/ 154456 h 495300"/>
                <a:gd name="connsiteX41" fmla="*/ 358333 w 523875"/>
                <a:gd name="connsiteY41" fmla="*/ 184745 h 495300"/>
                <a:gd name="connsiteX42" fmla="*/ 481491 w 523875"/>
                <a:gd name="connsiteY42" fmla="*/ 202747 h 495300"/>
                <a:gd name="connsiteX43" fmla="*/ 392337 w 523875"/>
                <a:gd name="connsiteY43" fmla="*/ 289615 h 495300"/>
                <a:gd name="connsiteX44" fmla="*/ 375763 w 523875"/>
                <a:gd name="connsiteY44" fmla="*/ 331049 h 495300"/>
                <a:gd name="connsiteX45" fmla="*/ 376430 w 523875"/>
                <a:gd name="connsiteY45" fmla="*/ 338669 h 495300"/>
                <a:gd name="connsiteX46" fmla="*/ 397385 w 523875"/>
                <a:gd name="connsiteY46" fmla="*/ 461351 h 495300"/>
                <a:gd name="connsiteX47" fmla="*/ 287276 w 523875"/>
                <a:gd name="connsiteY47" fmla="*/ 403439 h 495300"/>
                <a:gd name="connsiteX48" fmla="*/ 261463 w 523875"/>
                <a:gd name="connsiteY48" fmla="*/ 397629 h 495300"/>
                <a:gd name="connsiteX49" fmla="*/ 235651 w 523875"/>
                <a:gd name="connsiteY49" fmla="*/ 403439 h 495300"/>
                <a:gd name="connsiteX50" fmla="*/ 125446 w 523875"/>
                <a:gd name="connsiteY50" fmla="*/ 461351 h 495300"/>
                <a:gd name="connsiteX51" fmla="*/ 146497 w 523875"/>
                <a:gd name="connsiteY51" fmla="*/ 338669 h 495300"/>
                <a:gd name="connsiteX52" fmla="*/ 147068 w 523875"/>
                <a:gd name="connsiteY52" fmla="*/ 331049 h 495300"/>
                <a:gd name="connsiteX53" fmla="*/ 130495 w 523875"/>
                <a:gd name="connsiteY53" fmla="*/ 289615 h 49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523875" h="495300">
                  <a:moveTo>
                    <a:pt x="249081" y="428966"/>
                  </a:moveTo>
                  <a:cubicBezTo>
                    <a:pt x="257006" y="425664"/>
                    <a:pt x="265921" y="425664"/>
                    <a:pt x="273846" y="428966"/>
                  </a:cubicBezTo>
                  <a:lnTo>
                    <a:pt x="273846" y="428966"/>
                  </a:lnTo>
                  <a:lnTo>
                    <a:pt x="390718" y="490402"/>
                  </a:lnTo>
                  <a:cubicBezTo>
                    <a:pt x="395152" y="492867"/>
                    <a:pt x="400123" y="494208"/>
                    <a:pt x="405196" y="494308"/>
                  </a:cubicBezTo>
                  <a:cubicBezTo>
                    <a:pt x="411673" y="494422"/>
                    <a:pt x="417860" y="491625"/>
                    <a:pt x="422055" y="486688"/>
                  </a:cubicBezTo>
                  <a:cubicBezTo>
                    <a:pt x="425796" y="482026"/>
                    <a:pt x="427755" y="476184"/>
                    <a:pt x="427579" y="470209"/>
                  </a:cubicBezTo>
                  <a:cubicBezTo>
                    <a:pt x="427579" y="468114"/>
                    <a:pt x="427579" y="466114"/>
                    <a:pt x="427579" y="464018"/>
                  </a:cubicBezTo>
                  <a:lnTo>
                    <a:pt x="405196" y="333811"/>
                  </a:lnTo>
                  <a:lnTo>
                    <a:pt x="405196" y="330859"/>
                  </a:lnTo>
                  <a:cubicBezTo>
                    <a:pt x="405381" y="323283"/>
                    <a:pt x="408135" y="315995"/>
                    <a:pt x="413006" y="310189"/>
                  </a:cubicBezTo>
                  <a:lnTo>
                    <a:pt x="507685" y="217987"/>
                  </a:lnTo>
                  <a:cubicBezTo>
                    <a:pt x="513390" y="213010"/>
                    <a:pt x="516828" y="205928"/>
                    <a:pt x="517210" y="198366"/>
                  </a:cubicBezTo>
                  <a:cubicBezTo>
                    <a:pt x="517195" y="196104"/>
                    <a:pt x="516842" y="193856"/>
                    <a:pt x="516162" y="191698"/>
                  </a:cubicBezTo>
                  <a:cubicBezTo>
                    <a:pt x="512635" y="182329"/>
                    <a:pt x="503957" y="175886"/>
                    <a:pt x="493969" y="175220"/>
                  </a:cubicBezTo>
                  <a:lnTo>
                    <a:pt x="363190" y="156170"/>
                  </a:lnTo>
                  <a:cubicBezTo>
                    <a:pt x="354808" y="154204"/>
                    <a:pt x="347566" y="148953"/>
                    <a:pt x="343093" y="141597"/>
                  </a:cubicBezTo>
                  <a:lnTo>
                    <a:pt x="284704" y="23106"/>
                  </a:lnTo>
                  <a:cubicBezTo>
                    <a:pt x="280365" y="10691"/>
                    <a:pt x="266783" y="4144"/>
                    <a:pt x="254369" y="8484"/>
                  </a:cubicBezTo>
                  <a:cubicBezTo>
                    <a:pt x="247522" y="10877"/>
                    <a:pt x="242139" y="16259"/>
                    <a:pt x="239746" y="23106"/>
                  </a:cubicBezTo>
                  <a:lnTo>
                    <a:pt x="181168" y="141597"/>
                  </a:lnTo>
                  <a:cubicBezTo>
                    <a:pt x="179102" y="145404"/>
                    <a:pt x="176164" y="148668"/>
                    <a:pt x="172595" y="151122"/>
                  </a:cubicBezTo>
                  <a:cubicBezTo>
                    <a:pt x="169233" y="153715"/>
                    <a:pt x="165324" y="155507"/>
                    <a:pt x="161165" y="156361"/>
                  </a:cubicBezTo>
                  <a:lnTo>
                    <a:pt x="30292" y="175411"/>
                  </a:lnTo>
                  <a:cubicBezTo>
                    <a:pt x="20355" y="176159"/>
                    <a:pt x="11745" y="182579"/>
                    <a:pt x="8194" y="191889"/>
                  </a:cubicBezTo>
                  <a:cubicBezTo>
                    <a:pt x="7467" y="194036"/>
                    <a:pt x="7113" y="196290"/>
                    <a:pt x="7146" y="198556"/>
                  </a:cubicBezTo>
                  <a:cubicBezTo>
                    <a:pt x="7528" y="206118"/>
                    <a:pt x="10966" y="213200"/>
                    <a:pt x="16671" y="218178"/>
                  </a:cubicBezTo>
                  <a:lnTo>
                    <a:pt x="111254" y="310380"/>
                  </a:lnTo>
                  <a:cubicBezTo>
                    <a:pt x="116242" y="316123"/>
                    <a:pt x="119041" y="323443"/>
                    <a:pt x="119160" y="331049"/>
                  </a:cubicBezTo>
                  <a:lnTo>
                    <a:pt x="119160" y="334002"/>
                  </a:lnTo>
                  <a:lnTo>
                    <a:pt x="95443" y="464018"/>
                  </a:lnTo>
                  <a:cubicBezTo>
                    <a:pt x="95252" y="466077"/>
                    <a:pt x="95252" y="468150"/>
                    <a:pt x="95443" y="470209"/>
                  </a:cubicBezTo>
                  <a:cubicBezTo>
                    <a:pt x="95267" y="476184"/>
                    <a:pt x="97226" y="482026"/>
                    <a:pt x="100967" y="486688"/>
                  </a:cubicBezTo>
                  <a:cubicBezTo>
                    <a:pt x="105146" y="491635"/>
                    <a:pt x="111353" y="494405"/>
                    <a:pt x="117826" y="494212"/>
                  </a:cubicBezTo>
                  <a:cubicBezTo>
                    <a:pt x="122897" y="494190"/>
                    <a:pt x="127879" y="492879"/>
                    <a:pt x="132304" y="490402"/>
                  </a:cubicBezTo>
                  <a:close/>
                  <a:moveTo>
                    <a:pt x="130495" y="289615"/>
                  </a:moveTo>
                  <a:lnTo>
                    <a:pt x="41436" y="202652"/>
                  </a:lnTo>
                  <a:lnTo>
                    <a:pt x="164594" y="184745"/>
                  </a:lnTo>
                  <a:cubicBezTo>
                    <a:pt x="182328" y="181390"/>
                    <a:pt x="197632" y="170279"/>
                    <a:pt x="206314" y="154456"/>
                  </a:cubicBezTo>
                  <a:lnTo>
                    <a:pt x="261463" y="42823"/>
                  </a:lnTo>
                  <a:lnTo>
                    <a:pt x="316613" y="154456"/>
                  </a:lnTo>
                  <a:cubicBezTo>
                    <a:pt x="325294" y="170279"/>
                    <a:pt x="340598" y="181390"/>
                    <a:pt x="358333" y="184745"/>
                  </a:cubicBezTo>
                  <a:lnTo>
                    <a:pt x="481491" y="202747"/>
                  </a:lnTo>
                  <a:lnTo>
                    <a:pt x="392337" y="289615"/>
                  </a:lnTo>
                  <a:cubicBezTo>
                    <a:pt x="381846" y="300881"/>
                    <a:pt x="375936" y="315656"/>
                    <a:pt x="375763" y="331049"/>
                  </a:cubicBezTo>
                  <a:cubicBezTo>
                    <a:pt x="375792" y="333602"/>
                    <a:pt x="376015" y="336150"/>
                    <a:pt x="376430" y="338669"/>
                  </a:cubicBezTo>
                  <a:lnTo>
                    <a:pt x="397385" y="461351"/>
                  </a:lnTo>
                  <a:lnTo>
                    <a:pt x="287276" y="403439"/>
                  </a:lnTo>
                  <a:cubicBezTo>
                    <a:pt x="279245" y="399510"/>
                    <a:pt x="270404" y="397520"/>
                    <a:pt x="261463" y="397629"/>
                  </a:cubicBezTo>
                  <a:cubicBezTo>
                    <a:pt x="252515" y="397439"/>
                    <a:pt x="243655" y="399433"/>
                    <a:pt x="235651" y="403439"/>
                  </a:cubicBezTo>
                  <a:lnTo>
                    <a:pt x="125446" y="461351"/>
                  </a:lnTo>
                  <a:lnTo>
                    <a:pt x="146497" y="338669"/>
                  </a:lnTo>
                  <a:cubicBezTo>
                    <a:pt x="146880" y="336147"/>
                    <a:pt x="147071" y="333600"/>
                    <a:pt x="147068" y="331049"/>
                  </a:cubicBezTo>
                  <a:cubicBezTo>
                    <a:pt x="146979" y="315640"/>
                    <a:pt x="141057" y="300835"/>
                    <a:pt x="130495" y="28961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178">
              <a:extLst>
                <a:ext uri="{FF2B5EF4-FFF2-40B4-BE49-F238E27FC236}">
                  <a16:creationId xmlns:a16="http://schemas.microsoft.com/office/drawing/2014/main" id="{2116D741-64B0-5F47-AC69-AF2BD9252C6F}"/>
                </a:ext>
              </a:extLst>
            </p:cNvPr>
            <p:cNvSpPr/>
            <p:nvPr/>
          </p:nvSpPr>
          <p:spPr>
            <a:xfrm>
              <a:off x="1778939" y="2802939"/>
              <a:ext cx="371475" cy="438150"/>
            </a:xfrm>
            <a:custGeom>
              <a:avLst/>
              <a:gdLst>
                <a:gd name="connsiteX0" fmla="*/ 364427 w 371475"/>
                <a:gd name="connsiteY0" fmla="*/ 175242 h 438150"/>
                <a:gd name="connsiteX1" fmla="*/ 363093 w 371475"/>
                <a:gd name="connsiteY1" fmla="*/ 168861 h 438150"/>
                <a:gd name="connsiteX2" fmla="*/ 342329 w 371475"/>
                <a:gd name="connsiteY2" fmla="*/ 153335 h 438150"/>
                <a:gd name="connsiteX3" fmla="*/ 228600 w 371475"/>
                <a:gd name="connsiteY3" fmla="*/ 136857 h 438150"/>
                <a:gd name="connsiteX4" fmla="*/ 219075 w 371475"/>
                <a:gd name="connsiteY4" fmla="*/ 132570 h 438150"/>
                <a:gd name="connsiteX5" fmla="*/ 212217 w 371475"/>
                <a:gd name="connsiteY5" fmla="*/ 125141 h 438150"/>
                <a:gd name="connsiteX6" fmla="*/ 161354 w 371475"/>
                <a:gd name="connsiteY6" fmla="*/ 22080 h 438150"/>
                <a:gd name="connsiteX7" fmla="*/ 132469 w 371475"/>
                <a:gd name="connsiteY7" fmla="*/ 8483 h 438150"/>
                <a:gd name="connsiteX8" fmla="*/ 118872 w 371475"/>
                <a:gd name="connsiteY8" fmla="*/ 22080 h 438150"/>
                <a:gd name="connsiteX9" fmla="*/ 67818 w 371475"/>
                <a:gd name="connsiteY9" fmla="*/ 125141 h 438150"/>
                <a:gd name="connsiteX10" fmla="*/ 60960 w 371475"/>
                <a:gd name="connsiteY10" fmla="*/ 132570 h 438150"/>
                <a:gd name="connsiteX11" fmla="*/ 51435 w 371475"/>
                <a:gd name="connsiteY11" fmla="*/ 136857 h 438150"/>
                <a:gd name="connsiteX12" fmla="*/ 19431 w 371475"/>
                <a:gd name="connsiteY12" fmla="*/ 141429 h 438150"/>
                <a:gd name="connsiteX13" fmla="*/ 7144 w 371475"/>
                <a:gd name="connsiteY13" fmla="*/ 155716 h 438150"/>
                <a:gd name="connsiteX14" fmla="*/ 7144 w 371475"/>
                <a:gd name="connsiteY14" fmla="*/ 157812 h 438150"/>
                <a:gd name="connsiteX15" fmla="*/ 21431 w 371475"/>
                <a:gd name="connsiteY15" fmla="*/ 170099 h 438150"/>
                <a:gd name="connsiteX16" fmla="*/ 23527 w 371475"/>
                <a:gd name="connsiteY16" fmla="*/ 170099 h 438150"/>
                <a:gd name="connsiteX17" fmla="*/ 55435 w 371475"/>
                <a:gd name="connsiteY17" fmla="*/ 165527 h 438150"/>
                <a:gd name="connsiteX18" fmla="*/ 93536 w 371475"/>
                <a:gd name="connsiteY18" fmla="*/ 138095 h 438150"/>
                <a:gd name="connsiteX19" fmla="*/ 139827 w 371475"/>
                <a:gd name="connsiteY19" fmla="*/ 44369 h 438150"/>
                <a:gd name="connsiteX20" fmla="*/ 186023 w 371475"/>
                <a:gd name="connsiteY20" fmla="*/ 138095 h 438150"/>
                <a:gd name="connsiteX21" fmla="*/ 224123 w 371475"/>
                <a:gd name="connsiteY21" fmla="*/ 165527 h 438150"/>
                <a:gd name="connsiteX22" fmla="*/ 327565 w 371475"/>
                <a:gd name="connsiteY22" fmla="*/ 180576 h 438150"/>
                <a:gd name="connsiteX23" fmla="*/ 252794 w 371475"/>
                <a:gd name="connsiteY23" fmla="*/ 253538 h 438150"/>
                <a:gd name="connsiteX24" fmla="*/ 237744 w 371475"/>
                <a:gd name="connsiteY24" fmla="*/ 290685 h 438150"/>
                <a:gd name="connsiteX25" fmla="*/ 238315 w 371475"/>
                <a:gd name="connsiteY25" fmla="*/ 297829 h 438150"/>
                <a:gd name="connsiteX26" fmla="*/ 256032 w 371475"/>
                <a:gd name="connsiteY26" fmla="*/ 400890 h 438150"/>
                <a:gd name="connsiteX27" fmla="*/ 163449 w 371475"/>
                <a:gd name="connsiteY27" fmla="*/ 352217 h 438150"/>
                <a:gd name="connsiteX28" fmla="*/ 116872 w 371475"/>
                <a:gd name="connsiteY28" fmla="*/ 352217 h 438150"/>
                <a:gd name="connsiteX29" fmla="*/ 109157 w 371475"/>
                <a:gd name="connsiteY29" fmla="*/ 364980 h 438150"/>
                <a:gd name="connsiteX30" fmla="*/ 110871 w 371475"/>
                <a:gd name="connsiteY30" fmla="*/ 371648 h 438150"/>
                <a:gd name="connsiteX31" fmla="*/ 123635 w 371475"/>
                <a:gd name="connsiteY31" fmla="*/ 379363 h 438150"/>
                <a:gd name="connsiteX32" fmla="*/ 130302 w 371475"/>
                <a:gd name="connsiteY32" fmla="*/ 377744 h 438150"/>
                <a:gd name="connsiteX33" fmla="*/ 149352 w 371475"/>
                <a:gd name="connsiteY33" fmla="*/ 377744 h 438150"/>
                <a:gd name="connsiteX34" fmla="*/ 251079 w 371475"/>
                <a:gd name="connsiteY34" fmla="*/ 431179 h 438150"/>
                <a:gd name="connsiteX35" fmla="*/ 264605 w 371475"/>
                <a:gd name="connsiteY35" fmla="*/ 434799 h 438150"/>
                <a:gd name="connsiteX36" fmla="*/ 277082 w 371475"/>
                <a:gd name="connsiteY36" fmla="*/ 430798 h 438150"/>
                <a:gd name="connsiteX37" fmla="*/ 285940 w 371475"/>
                <a:gd name="connsiteY37" fmla="*/ 411748 h 438150"/>
                <a:gd name="connsiteX38" fmla="*/ 285369 w 371475"/>
                <a:gd name="connsiteY38" fmla="*/ 405938 h 438150"/>
                <a:gd name="connsiteX39" fmla="*/ 266319 w 371475"/>
                <a:gd name="connsiteY39" fmla="*/ 292686 h 438150"/>
                <a:gd name="connsiteX40" fmla="*/ 266319 w 371475"/>
                <a:gd name="connsiteY40" fmla="*/ 290400 h 438150"/>
                <a:gd name="connsiteX41" fmla="*/ 272701 w 371475"/>
                <a:gd name="connsiteY41" fmla="*/ 273826 h 438150"/>
                <a:gd name="connsiteX42" fmla="*/ 354997 w 371475"/>
                <a:gd name="connsiteY42" fmla="*/ 193626 h 438150"/>
                <a:gd name="connsiteX43" fmla="*/ 364427 w 371475"/>
                <a:gd name="connsiteY43" fmla="*/ 175242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371475" h="438150">
                  <a:moveTo>
                    <a:pt x="364427" y="175242"/>
                  </a:moveTo>
                  <a:cubicBezTo>
                    <a:pt x="364324" y="173058"/>
                    <a:pt x="363874" y="170903"/>
                    <a:pt x="363093" y="168861"/>
                  </a:cubicBezTo>
                  <a:cubicBezTo>
                    <a:pt x="359843" y="160041"/>
                    <a:pt x="351708" y="153958"/>
                    <a:pt x="342329" y="153335"/>
                  </a:cubicBezTo>
                  <a:lnTo>
                    <a:pt x="228600" y="136857"/>
                  </a:lnTo>
                  <a:cubicBezTo>
                    <a:pt x="225142" y="136166"/>
                    <a:pt x="221885" y="134700"/>
                    <a:pt x="219075" y="132570"/>
                  </a:cubicBezTo>
                  <a:cubicBezTo>
                    <a:pt x="216250" y="130652"/>
                    <a:pt x="213904" y="128110"/>
                    <a:pt x="212217" y="125141"/>
                  </a:cubicBezTo>
                  <a:lnTo>
                    <a:pt x="161354" y="22080"/>
                  </a:lnTo>
                  <a:cubicBezTo>
                    <a:pt x="157132" y="10349"/>
                    <a:pt x="144200" y="4262"/>
                    <a:pt x="132469" y="8483"/>
                  </a:cubicBezTo>
                  <a:cubicBezTo>
                    <a:pt x="126136" y="10762"/>
                    <a:pt x="121151" y="15748"/>
                    <a:pt x="118872" y="22080"/>
                  </a:cubicBezTo>
                  <a:lnTo>
                    <a:pt x="67818" y="125141"/>
                  </a:lnTo>
                  <a:cubicBezTo>
                    <a:pt x="66131" y="128110"/>
                    <a:pt x="63785" y="130652"/>
                    <a:pt x="60960" y="132570"/>
                  </a:cubicBezTo>
                  <a:cubicBezTo>
                    <a:pt x="58140" y="134684"/>
                    <a:pt x="54887" y="136147"/>
                    <a:pt x="51435" y="136857"/>
                  </a:cubicBezTo>
                  <a:lnTo>
                    <a:pt x="19431" y="141429"/>
                  </a:lnTo>
                  <a:cubicBezTo>
                    <a:pt x="12372" y="142509"/>
                    <a:pt x="7156" y="148575"/>
                    <a:pt x="7144" y="155716"/>
                  </a:cubicBezTo>
                  <a:lnTo>
                    <a:pt x="7144" y="157812"/>
                  </a:lnTo>
                  <a:cubicBezTo>
                    <a:pt x="8224" y="164870"/>
                    <a:pt x="14290" y="170087"/>
                    <a:pt x="21431" y="170099"/>
                  </a:cubicBezTo>
                  <a:lnTo>
                    <a:pt x="23527" y="170099"/>
                  </a:lnTo>
                  <a:lnTo>
                    <a:pt x="55435" y="165527"/>
                  </a:lnTo>
                  <a:cubicBezTo>
                    <a:pt x="71654" y="162670"/>
                    <a:pt x="85682" y="152569"/>
                    <a:pt x="93536" y="138095"/>
                  </a:cubicBezTo>
                  <a:lnTo>
                    <a:pt x="139827" y="44369"/>
                  </a:lnTo>
                  <a:lnTo>
                    <a:pt x="186023" y="138095"/>
                  </a:lnTo>
                  <a:cubicBezTo>
                    <a:pt x="193898" y="152550"/>
                    <a:pt x="207916" y="162643"/>
                    <a:pt x="224123" y="165527"/>
                  </a:cubicBezTo>
                  <a:lnTo>
                    <a:pt x="327565" y="180576"/>
                  </a:lnTo>
                  <a:lnTo>
                    <a:pt x="252794" y="253538"/>
                  </a:lnTo>
                  <a:cubicBezTo>
                    <a:pt x="243247" y="263564"/>
                    <a:pt x="237868" y="276842"/>
                    <a:pt x="237744" y="290685"/>
                  </a:cubicBezTo>
                  <a:cubicBezTo>
                    <a:pt x="237745" y="293078"/>
                    <a:pt x="237936" y="295467"/>
                    <a:pt x="238315" y="297829"/>
                  </a:cubicBezTo>
                  <a:lnTo>
                    <a:pt x="256032" y="400890"/>
                  </a:lnTo>
                  <a:lnTo>
                    <a:pt x="163449" y="352217"/>
                  </a:lnTo>
                  <a:cubicBezTo>
                    <a:pt x="148737" y="345108"/>
                    <a:pt x="131584" y="345108"/>
                    <a:pt x="116872" y="352217"/>
                  </a:cubicBezTo>
                  <a:cubicBezTo>
                    <a:pt x="112123" y="354702"/>
                    <a:pt x="109149" y="359621"/>
                    <a:pt x="109157" y="364980"/>
                  </a:cubicBezTo>
                  <a:cubicBezTo>
                    <a:pt x="109148" y="367313"/>
                    <a:pt x="109738" y="369609"/>
                    <a:pt x="110871" y="371648"/>
                  </a:cubicBezTo>
                  <a:cubicBezTo>
                    <a:pt x="113356" y="376397"/>
                    <a:pt x="118275" y="379370"/>
                    <a:pt x="123635" y="379363"/>
                  </a:cubicBezTo>
                  <a:cubicBezTo>
                    <a:pt x="125952" y="379347"/>
                    <a:pt x="128235" y="378793"/>
                    <a:pt x="130302" y="377744"/>
                  </a:cubicBezTo>
                  <a:cubicBezTo>
                    <a:pt x="136373" y="375082"/>
                    <a:pt x="143281" y="375082"/>
                    <a:pt x="149352" y="377744"/>
                  </a:cubicBezTo>
                  <a:lnTo>
                    <a:pt x="251079" y="431179"/>
                  </a:lnTo>
                  <a:cubicBezTo>
                    <a:pt x="255218" y="433489"/>
                    <a:pt x="259866" y="434733"/>
                    <a:pt x="264605" y="434799"/>
                  </a:cubicBezTo>
                  <a:cubicBezTo>
                    <a:pt x="269084" y="434833"/>
                    <a:pt x="273458" y="433431"/>
                    <a:pt x="277082" y="430798"/>
                  </a:cubicBezTo>
                  <a:cubicBezTo>
                    <a:pt x="283003" y="426303"/>
                    <a:pt x="286319" y="419172"/>
                    <a:pt x="285940" y="411748"/>
                  </a:cubicBezTo>
                  <a:cubicBezTo>
                    <a:pt x="285939" y="409797"/>
                    <a:pt x="285748" y="407851"/>
                    <a:pt x="285369" y="405938"/>
                  </a:cubicBezTo>
                  <a:lnTo>
                    <a:pt x="266319" y="292686"/>
                  </a:lnTo>
                  <a:lnTo>
                    <a:pt x="266319" y="290400"/>
                  </a:lnTo>
                  <a:cubicBezTo>
                    <a:pt x="266483" y="284307"/>
                    <a:pt x="268736" y="278455"/>
                    <a:pt x="272701" y="273826"/>
                  </a:cubicBezTo>
                  <a:lnTo>
                    <a:pt x="354997" y="193626"/>
                  </a:lnTo>
                  <a:cubicBezTo>
                    <a:pt x="360517" y="189042"/>
                    <a:pt x="363924" y="182400"/>
                    <a:pt x="364427" y="17524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179">
              <a:extLst>
                <a:ext uri="{FF2B5EF4-FFF2-40B4-BE49-F238E27FC236}">
                  <a16:creationId xmlns:a16="http://schemas.microsoft.com/office/drawing/2014/main" id="{9DA63254-2AF8-5946-AFF3-A00D629526AD}"/>
                </a:ext>
              </a:extLst>
            </p:cNvPr>
            <p:cNvSpPr/>
            <p:nvPr/>
          </p:nvSpPr>
          <p:spPr>
            <a:xfrm>
              <a:off x="1227346" y="2802749"/>
              <a:ext cx="361950" cy="438150"/>
            </a:xfrm>
            <a:custGeom>
              <a:avLst/>
              <a:gdLst>
                <a:gd name="connsiteX0" fmla="*/ 254128 w 361950"/>
                <a:gd name="connsiteY0" fmla="*/ 352122 h 438150"/>
                <a:gd name="connsiteX1" fmla="*/ 207455 w 361950"/>
                <a:gd name="connsiteY1" fmla="*/ 352122 h 438150"/>
                <a:gd name="connsiteX2" fmla="*/ 114586 w 361950"/>
                <a:gd name="connsiteY2" fmla="*/ 400699 h 438150"/>
                <a:gd name="connsiteX3" fmla="*/ 132208 w 361950"/>
                <a:gd name="connsiteY3" fmla="*/ 297734 h 438150"/>
                <a:gd name="connsiteX4" fmla="*/ 132874 w 361950"/>
                <a:gd name="connsiteY4" fmla="*/ 290590 h 438150"/>
                <a:gd name="connsiteX5" fmla="*/ 117825 w 361950"/>
                <a:gd name="connsiteY5" fmla="*/ 253443 h 438150"/>
                <a:gd name="connsiteX6" fmla="*/ 43054 w 361950"/>
                <a:gd name="connsiteY6" fmla="*/ 180481 h 438150"/>
                <a:gd name="connsiteX7" fmla="*/ 146400 w 361950"/>
                <a:gd name="connsiteY7" fmla="*/ 165432 h 438150"/>
                <a:gd name="connsiteX8" fmla="*/ 184500 w 361950"/>
                <a:gd name="connsiteY8" fmla="*/ 138000 h 438150"/>
                <a:gd name="connsiteX9" fmla="*/ 230791 w 361950"/>
                <a:gd name="connsiteY9" fmla="*/ 44274 h 438150"/>
                <a:gd name="connsiteX10" fmla="*/ 277083 w 361950"/>
                <a:gd name="connsiteY10" fmla="*/ 138000 h 438150"/>
                <a:gd name="connsiteX11" fmla="*/ 315183 w 361950"/>
                <a:gd name="connsiteY11" fmla="*/ 165432 h 438150"/>
                <a:gd name="connsiteX12" fmla="*/ 347092 w 361950"/>
                <a:gd name="connsiteY12" fmla="*/ 170099 h 438150"/>
                <a:gd name="connsiteX13" fmla="*/ 349092 w 361950"/>
                <a:gd name="connsiteY13" fmla="*/ 170099 h 438150"/>
                <a:gd name="connsiteX14" fmla="*/ 363379 w 361950"/>
                <a:gd name="connsiteY14" fmla="*/ 157812 h 438150"/>
                <a:gd name="connsiteX15" fmla="*/ 363379 w 361950"/>
                <a:gd name="connsiteY15" fmla="*/ 155716 h 438150"/>
                <a:gd name="connsiteX16" fmla="*/ 350997 w 361950"/>
                <a:gd name="connsiteY16" fmla="*/ 141429 h 438150"/>
                <a:gd name="connsiteX17" fmla="*/ 319088 w 361950"/>
                <a:gd name="connsiteY17" fmla="*/ 136857 h 438150"/>
                <a:gd name="connsiteX18" fmla="*/ 309563 w 361950"/>
                <a:gd name="connsiteY18" fmla="*/ 132570 h 438150"/>
                <a:gd name="connsiteX19" fmla="*/ 302705 w 361950"/>
                <a:gd name="connsiteY19" fmla="*/ 125141 h 438150"/>
                <a:gd name="connsiteX20" fmla="*/ 251842 w 361950"/>
                <a:gd name="connsiteY20" fmla="*/ 22080 h 438150"/>
                <a:gd name="connsiteX21" fmla="*/ 222957 w 361950"/>
                <a:gd name="connsiteY21" fmla="*/ 8483 h 438150"/>
                <a:gd name="connsiteX22" fmla="*/ 209360 w 361950"/>
                <a:gd name="connsiteY22" fmla="*/ 22080 h 438150"/>
                <a:gd name="connsiteX23" fmla="*/ 158687 w 361950"/>
                <a:gd name="connsiteY23" fmla="*/ 125236 h 438150"/>
                <a:gd name="connsiteX24" fmla="*/ 151829 w 361950"/>
                <a:gd name="connsiteY24" fmla="*/ 132666 h 438150"/>
                <a:gd name="connsiteX25" fmla="*/ 142304 w 361950"/>
                <a:gd name="connsiteY25" fmla="*/ 136952 h 438150"/>
                <a:gd name="connsiteX26" fmla="*/ 142304 w 361950"/>
                <a:gd name="connsiteY26" fmla="*/ 136952 h 438150"/>
                <a:gd name="connsiteX27" fmla="*/ 28861 w 361950"/>
                <a:gd name="connsiteY27" fmla="*/ 153430 h 438150"/>
                <a:gd name="connsiteX28" fmla="*/ 8097 w 361950"/>
                <a:gd name="connsiteY28" fmla="*/ 169051 h 438150"/>
                <a:gd name="connsiteX29" fmla="*/ 7144 w 361950"/>
                <a:gd name="connsiteY29" fmla="*/ 175528 h 438150"/>
                <a:gd name="connsiteX30" fmla="*/ 15812 w 361950"/>
                <a:gd name="connsiteY30" fmla="*/ 193911 h 438150"/>
                <a:gd name="connsiteX31" fmla="*/ 98108 w 361950"/>
                <a:gd name="connsiteY31" fmla="*/ 273826 h 438150"/>
                <a:gd name="connsiteX32" fmla="*/ 104395 w 361950"/>
                <a:gd name="connsiteY32" fmla="*/ 290400 h 438150"/>
                <a:gd name="connsiteX33" fmla="*/ 104395 w 361950"/>
                <a:gd name="connsiteY33" fmla="*/ 292876 h 438150"/>
                <a:gd name="connsiteX34" fmla="*/ 85345 w 361950"/>
                <a:gd name="connsiteY34" fmla="*/ 406128 h 438150"/>
                <a:gd name="connsiteX35" fmla="*/ 85345 w 361950"/>
                <a:gd name="connsiteY35" fmla="*/ 411939 h 438150"/>
                <a:gd name="connsiteX36" fmla="*/ 94203 w 361950"/>
                <a:gd name="connsiteY36" fmla="*/ 430989 h 438150"/>
                <a:gd name="connsiteX37" fmla="*/ 106681 w 361950"/>
                <a:gd name="connsiteY37" fmla="*/ 434989 h 438150"/>
                <a:gd name="connsiteX38" fmla="*/ 120206 w 361950"/>
                <a:gd name="connsiteY38" fmla="*/ 431370 h 438150"/>
                <a:gd name="connsiteX39" fmla="*/ 221933 w 361950"/>
                <a:gd name="connsiteY39" fmla="*/ 377934 h 438150"/>
                <a:gd name="connsiteX40" fmla="*/ 240983 w 361950"/>
                <a:gd name="connsiteY40" fmla="*/ 377934 h 438150"/>
                <a:gd name="connsiteX41" fmla="*/ 240983 w 361950"/>
                <a:gd name="connsiteY41" fmla="*/ 377934 h 438150"/>
                <a:gd name="connsiteX42" fmla="*/ 247651 w 361950"/>
                <a:gd name="connsiteY42" fmla="*/ 379554 h 438150"/>
                <a:gd name="connsiteX43" fmla="*/ 260414 w 361950"/>
                <a:gd name="connsiteY43" fmla="*/ 371838 h 438150"/>
                <a:gd name="connsiteX44" fmla="*/ 262033 w 361950"/>
                <a:gd name="connsiteY44" fmla="*/ 365171 h 438150"/>
                <a:gd name="connsiteX45" fmla="*/ 254128 w 361950"/>
                <a:gd name="connsiteY45" fmla="*/ 352122 h 438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361950" h="438150">
                  <a:moveTo>
                    <a:pt x="254128" y="352122"/>
                  </a:moveTo>
                  <a:cubicBezTo>
                    <a:pt x="239389" y="344982"/>
                    <a:pt x="222194" y="344982"/>
                    <a:pt x="207455" y="352122"/>
                  </a:cubicBezTo>
                  <a:lnTo>
                    <a:pt x="114586" y="400699"/>
                  </a:lnTo>
                  <a:lnTo>
                    <a:pt x="132208" y="297734"/>
                  </a:lnTo>
                  <a:cubicBezTo>
                    <a:pt x="132665" y="295381"/>
                    <a:pt x="132889" y="292988"/>
                    <a:pt x="132874" y="290590"/>
                  </a:cubicBezTo>
                  <a:cubicBezTo>
                    <a:pt x="132751" y="276747"/>
                    <a:pt x="127371" y="263468"/>
                    <a:pt x="117825" y="253443"/>
                  </a:cubicBezTo>
                  <a:lnTo>
                    <a:pt x="43054" y="180481"/>
                  </a:lnTo>
                  <a:lnTo>
                    <a:pt x="146400" y="165432"/>
                  </a:lnTo>
                  <a:cubicBezTo>
                    <a:pt x="162618" y="162575"/>
                    <a:pt x="176646" y="152474"/>
                    <a:pt x="184500" y="138000"/>
                  </a:cubicBezTo>
                  <a:lnTo>
                    <a:pt x="230791" y="44274"/>
                  </a:lnTo>
                  <a:lnTo>
                    <a:pt x="277083" y="138000"/>
                  </a:lnTo>
                  <a:cubicBezTo>
                    <a:pt x="284936" y="152474"/>
                    <a:pt x="298965" y="162575"/>
                    <a:pt x="315183" y="165432"/>
                  </a:cubicBezTo>
                  <a:lnTo>
                    <a:pt x="347092" y="170099"/>
                  </a:lnTo>
                  <a:lnTo>
                    <a:pt x="349092" y="170099"/>
                  </a:lnTo>
                  <a:cubicBezTo>
                    <a:pt x="356233" y="170087"/>
                    <a:pt x="362299" y="164870"/>
                    <a:pt x="363379" y="157812"/>
                  </a:cubicBezTo>
                  <a:lnTo>
                    <a:pt x="363379" y="155716"/>
                  </a:lnTo>
                  <a:cubicBezTo>
                    <a:pt x="363361" y="148544"/>
                    <a:pt x="358094" y="142467"/>
                    <a:pt x="350997" y="141429"/>
                  </a:cubicBezTo>
                  <a:lnTo>
                    <a:pt x="319088" y="136857"/>
                  </a:lnTo>
                  <a:cubicBezTo>
                    <a:pt x="315630" y="136166"/>
                    <a:pt x="312374" y="134700"/>
                    <a:pt x="309563" y="132570"/>
                  </a:cubicBezTo>
                  <a:cubicBezTo>
                    <a:pt x="306738" y="130652"/>
                    <a:pt x="304392" y="128110"/>
                    <a:pt x="302705" y="125141"/>
                  </a:cubicBezTo>
                  <a:lnTo>
                    <a:pt x="251842" y="22080"/>
                  </a:lnTo>
                  <a:cubicBezTo>
                    <a:pt x="247620" y="10349"/>
                    <a:pt x="234688" y="4262"/>
                    <a:pt x="222957" y="8483"/>
                  </a:cubicBezTo>
                  <a:cubicBezTo>
                    <a:pt x="216625" y="10762"/>
                    <a:pt x="211639" y="15748"/>
                    <a:pt x="209360" y="22080"/>
                  </a:cubicBezTo>
                  <a:lnTo>
                    <a:pt x="158687" y="125236"/>
                  </a:lnTo>
                  <a:cubicBezTo>
                    <a:pt x="157001" y="128205"/>
                    <a:pt x="154654" y="130747"/>
                    <a:pt x="151829" y="132666"/>
                  </a:cubicBezTo>
                  <a:cubicBezTo>
                    <a:pt x="149019" y="134796"/>
                    <a:pt x="145762" y="136261"/>
                    <a:pt x="142304" y="136952"/>
                  </a:cubicBezTo>
                  <a:lnTo>
                    <a:pt x="142304" y="136952"/>
                  </a:lnTo>
                  <a:lnTo>
                    <a:pt x="28861" y="153430"/>
                  </a:lnTo>
                  <a:cubicBezTo>
                    <a:pt x="19476" y="154117"/>
                    <a:pt x="11358" y="160224"/>
                    <a:pt x="8097" y="169051"/>
                  </a:cubicBezTo>
                  <a:cubicBezTo>
                    <a:pt x="7448" y="171148"/>
                    <a:pt x="7127" y="173333"/>
                    <a:pt x="7144" y="175528"/>
                  </a:cubicBezTo>
                  <a:cubicBezTo>
                    <a:pt x="7431" y="182575"/>
                    <a:pt x="10558" y="189207"/>
                    <a:pt x="15812" y="193911"/>
                  </a:cubicBezTo>
                  <a:lnTo>
                    <a:pt x="98108" y="273826"/>
                  </a:lnTo>
                  <a:cubicBezTo>
                    <a:pt x="102045" y="278464"/>
                    <a:pt x="104265" y="284317"/>
                    <a:pt x="104395" y="290400"/>
                  </a:cubicBezTo>
                  <a:lnTo>
                    <a:pt x="104395" y="292876"/>
                  </a:lnTo>
                  <a:lnTo>
                    <a:pt x="85345" y="406128"/>
                  </a:lnTo>
                  <a:cubicBezTo>
                    <a:pt x="85203" y="408063"/>
                    <a:pt x="85203" y="410004"/>
                    <a:pt x="85345" y="411939"/>
                  </a:cubicBezTo>
                  <a:cubicBezTo>
                    <a:pt x="84966" y="419363"/>
                    <a:pt x="88282" y="426494"/>
                    <a:pt x="94203" y="430989"/>
                  </a:cubicBezTo>
                  <a:cubicBezTo>
                    <a:pt x="97828" y="433622"/>
                    <a:pt x="102201" y="435024"/>
                    <a:pt x="106681" y="434989"/>
                  </a:cubicBezTo>
                  <a:cubicBezTo>
                    <a:pt x="111416" y="434896"/>
                    <a:pt x="116057" y="433654"/>
                    <a:pt x="120206" y="431370"/>
                  </a:cubicBezTo>
                  <a:lnTo>
                    <a:pt x="221933" y="377934"/>
                  </a:lnTo>
                  <a:cubicBezTo>
                    <a:pt x="228004" y="375272"/>
                    <a:pt x="234912" y="375272"/>
                    <a:pt x="240983" y="377934"/>
                  </a:cubicBezTo>
                  <a:lnTo>
                    <a:pt x="240983" y="377934"/>
                  </a:lnTo>
                  <a:cubicBezTo>
                    <a:pt x="243050" y="378984"/>
                    <a:pt x="245333" y="379538"/>
                    <a:pt x="247651" y="379554"/>
                  </a:cubicBezTo>
                  <a:cubicBezTo>
                    <a:pt x="253010" y="379561"/>
                    <a:pt x="257930" y="376587"/>
                    <a:pt x="260414" y="371838"/>
                  </a:cubicBezTo>
                  <a:cubicBezTo>
                    <a:pt x="261463" y="369771"/>
                    <a:pt x="262018" y="367489"/>
                    <a:pt x="262033" y="365171"/>
                  </a:cubicBezTo>
                  <a:cubicBezTo>
                    <a:pt x="262112" y="359667"/>
                    <a:pt x="259043" y="354600"/>
                    <a:pt x="254128" y="352122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3" name="Shape 628">
            <a:extLst>
              <a:ext uri="{FF2B5EF4-FFF2-40B4-BE49-F238E27FC236}">
                <a16:creationId xmlns:a16="http://schemas.microsoft.com/office/drawing/2014/main" id="{398B0F5C-D4CA-F94F-A547-527CB942E4E5}"/>
              </a:ext>
            </a:extLst>
          </p:cNvPr>
          <p:cNvSpPr/>
          <p:nvPr/>
        </p:nvSpPr>
        <p:spPr>
          <a:xfrm>
            <a:off x="224781" y="2689037"/>
            <a:ext cx="1863787" cy="550367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89642" tIns="89642" rIns="89642" bIns="89642" rtlCol="0">
            <a:spAutoFit/>
          </a:bodyPr>
          <a:lstStyle/>
          <a:p>
            <a:pPr algn="ctr"/>
            <a:r>
              <a:rPr lang="en-GB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d Test </a:t>
            </a:r>
          </a:p>
          <a:p>
            <a:pPr algn="ctr"/>
            <a:r>
              <a:rPr lang="en-GB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ion</a:t>
            </a:r>
            <a:endParaRPr lang="en-GB" sz="12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628">
            <a:extLst>
              <a:ext uri="{FF2B5EF4-FFF2-40B4-BE49-F238E27FC236}">
                <a16:creationId xmlns:a16="http://schemas.microsoft.com/office/drawing/2014/main" id="{4B159383-4934-AF43-87F2-A41BEE47A413}"/>
              </a:ext>
            </a:extLst>
          </p:cNvPr>
          <p:cNvSpPr/>
          <p:nvPr/>
        </p:nvSpPr>
        <p:spPr>
          <a:xfrm>
            <a:off x="3467047" y="2621737"/>
            <a:ext cx="1863787" cy="550367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89642" tIns="89642" rIns="89642" bIns="89642" rtlCol="0">
            <a:spAutoFit/>
          </a:bodyPr>
          <a:lstStyle/>
          <a:p>
            <a:pPr algn="ctr"/>
            <a:r>
              <a:rPr lang="en-GB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-Demand access to Automation Experts</a:t>
            </a:r>
            <a:endParaRPr lang="en-GB" sz="12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Shape 628">
            <a:extLst>
              <a:ext uri="{FF2B5EF4-FFF2-40B4-BE49-F238E27FC236}">
                <a16:creationId xmlns:a16="http://schemas.microsoft.com/office/drawing/2014/main" id="{66987CD6-A0C6-A94C-AD36-6DEF5AF65032}"/>
              </a:ext>
            </a:extLst>
          </p:cNvPr>
          <p:cNvSpPr/>
          <p:nvPr/>
        </p:nvSpPr>
        <p:spPr>
          <a:xfrm>
            <a:off x="6795384" y="2622438"/>
            <a:ext cx="1863787" cy="550367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89642" tIns="89642" rIns="89642" bIns="89642" rtlCol="0">
            <a:spAutoFit/>
          </a:bodyPr>
          <a:lstStyle/>
          <a:p>
            <a:pPr algn="ctr"/>
            <a:r>
              <a:rPr lang="en-GB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lerate </a:t>
            </a:r>
          </a:p>
          <a:p>
            <a:pPr algn="ctr"/>
            <a:r>
              <a:rPr lang="en-GB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loratory Testing</a:t>
            </a:r>
            <a:endParaRPr lang="en-GB" sz="12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Shape 628">
            <a:extLst>
              <a:ext uri="{FF2B5EF4-FFF2-40B4-BE49-F238E27FC236}">
                <a16:creationId xmlns:a16="http://schemas.microsoft.com/office/drawing/2014/main" id="{B6A8F509-2281-E54E-B516-EE45E15729C3}"/>
              </a:ext>
            </a:extLst>
          </p:cNvPr>
          <p:cNvSpPr/>
          <p:nvPr/>
        </p:nvSpPr>
        <p:spPr>
          <a:xfrm>
            <a:off x="9951444" y="2644528"/>
            <a:ext cx="1863787" cy="550367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89642" tIns="89642" rIns="89642" bIns="89642" rtlCol="0">
            <a:spAutoFit/>
          </a:bodyPr>
          <a:lstStyle/>
          <a:p>
            <a:pPr algn="ctr"/>
            <a:r>
              <a:rPr lang="en-GB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t </a:t>
            </a:r>
          </a:p>
          <a:p>
            <a:pPr algn="ctr"/>
            <a:r>
              <a:rPr lang="en-GB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Practices</a:t>
            </a:r>
            <a:endParaRPr lang="en-GB" sz="12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392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D7C204F3-64A0-44E2-86D5-5900F9D93E9A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676316729"/>
              </p:ext>
            </p:extLst>
          </p:nvPr>
        </p:nvGraphicFramePr>
        <p:xfrm>
          <a:off x="449202" y="1086225"/>
          <a:ext cx="11293536" cy="49050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64512">
                  <a:extLst>
                    <a:ext uri="{9D8B030D-6E8A-4147-A177-3AD203B41FA5}">
                      <a16:colId xmlns:a16="http://schemas.microsoft.com/office/drawing/2014/main" val="1248412552"/>
                    </a:ext>
                  </a:extLst>
                </a:gridCol>
                <a:gridCol w="3764512">
                  <a:extLst>
                    <a:ext uri="{9D8B030D-6E8A-4147-A177-3AD203B41FA5}">
                      <a16:colId xmlns:a16="http://schemas.microsoft.com/office/drawing/2014/main" val="390030548"/>
                    </a:ext>
                  </a:extLst>
                </a:gridCol>
                <a:gridCol w="3764512">
                  <a:extLst>
                    <a:ext uri="{9D8B030D-6E8A-4147-A177-3AD203B41FA5}">
                      <a16:colId xmlns:a16="http://schemas.microsoft.com/office/drawing/2014/main" val="1544146636"/>
                    </a:ext>
                  </a:extLst>
                </a:gridCol>
              </a:tblGrid>
              <a:tr h="339204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endParaRPr lang="en-US" sz="1600" b="1" kern="1200" cap="all" spc="6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0" marB="91440"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1" kern="1200" cap="none" spc="6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FastStart</a:t>
                      </a:r>
                      <a:endParaRPr lang="en-US" sz="1600" b="1" kern="1200" cap="all" spc="60" dirty="0">
                        <a:solidFill>
                          <a:schemeClr val="accen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91440" marB="91440" anchor="b"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lnSpc>
                          <a:spcPct val="90000"/>
                        </a:lnSpc>
                        <a:spcBef>
                          <a:spcPts val="4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sz="1600" b="1" kern="1200" cap="none" spc="6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FastStart+</a:t>
                      </a:r>
                    </a:p>
                  </a:txBody>
                  <a:tcPr marT="91440" marB="91440" anchor="b"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1280750"/>
                  </a:ext>
                </a:extLst>
              </a:tr>
              <a:tr h="339204"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300" b="1" i="1" dirty="0">
                          <a:solidFill>
                            <a:schemeClr val="tx1"/>
                          </a:solidFill>
                          <a:effectLst/>
                        </a:rPr>
                        <a:t>Purpose</a:t>
                      </a:r>
                      <a:r>
                        <a:rPr lang="en-GB" sz="1300" b="0" i="1" dirty="0">
                          <a:solidFill>
                            <a:schemeClr val="tx1"/>
                          </a:solidFill>
                          <a:effectLst/>
                        </a:rPr>
                        <a:t>​</a:t>
                      </a:r>
                      <a:endParaRPr lang="en-GB" sz="1300" b="0" i="1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kern="1200" dirty="0">
                          <a:solidFill>
                            <a:schemeClr val="tx1"/>
                          </a:solidFill>
                          <a:effectLst/>
                        </a:rPr>
                        <a:t>Get up-and-running with Eggplant​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kern="1200" dirty="0">
                          <a:solidFill>
                            <a:schemeClr val="tx1"/>
                          </a:solidFill>
                          <a:effectLst/>
                        </a:rPr>
                        <a:t>Setup a complete test automation environment​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4910280"/>
                  </a:ext>
                </a:extLst>
              </a:tr>
              <a:tr h="588238"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300" b="1" i="1" dirty="0">
                          <a:solidFill>
                            <a:schemeClr val="tx1"/>
                          </a:solidFill>
                          <a:effectLst/>
                        </a:rPr>
                        <a:t>Preparation</a:t>
                      </a:r>
                      <a:r>
                        <a:rPr lang="en-GB" sz="1300" b="0" i="1" dirty="0">
                          <a:solidFill>
                            <a:schemeClr val="tx1"/>
                          </a:solidFill>
                          <a:effectLst/>
                        </a:rPr>
                        <a:t>​</a:t>
                      </a:r>
                      <a:endParaRPr lang="en-GB" sz="1300" b="0" i="1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kern="1200" dirty="0">
                          <a:solidFill>
                            <a:schemeClr val="tx1"/>
                          </a:solidFill>
                          <a:effectLst/>
                        </a:rPr>
                        <a:t>½ day</a:t>
                      </a:r>
                      <a:r>
                        <a:rPr lang="en-GB" sz="1200" b="0" kern="1200" dirty="0">
                          <a:solidFill>
                            <a:schemeClr val="tx1"/>
                          </a:solidFill>
                          <a:effectLst/>
                        </a:rPr>
                        <a:t>. Remote preparation calls a week before to align to and edit where needed the Engagement Plan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kern="1200" dirty="0">
                          <a:solidFill>
                            <a:schemeClr val="tx1"/>
                          </a:solidFill>
                          <a:effectLst/>
                        </a:rPr>
                        <a:t>1 day</a:t>
                      </a:r>
                      <a:r>
                        <a:rPr lang="en-GB" sz="1200" b="0" kern="1200" dirty="0">
                          <a:solidFill>
                            <a:schemeClr val="tx1"/>
                          </a:solidFill>
                          <a:effectLst/>
                        </a:rPr>
                        <a:t>. Remote preparation calls a week before to align to and edit where needed the Engagement Plan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3550405"/>
                  </a:ext>
                </a:extLst>
              </a:tr>
              <a:tr h="339204"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300" b="1" i="1" dirty="0">
                          <a:solidFill>
                            <a:schemeClr val="tx1"/>
                          </a:solidFill>
                          <a:effectLst/>
                        </a:rPr>
                        <a:t>Training and Certification</a:t>
                      </a:r>
                      <a:r>
                        <a:rPr lang="en-GB" sz="1300" b="0" i="1" dirty="0">
                          <a:solidFill>
                            <a:schemeClr val="tx1"/>
                          </a:solidFill>
                          <a:effectLst/>
                        </a:rPr>
                        <a:t>​</a:t>
                      </a:r>
                      <a:endParaRPr lang="en-GB" sz="1300" b="0" i="1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kern="1200" dirty="0">
                          <a:solidFill>
                            <a:schemeClr val="tx1"/>
                          </a:solidFill>
                          <a:effectLst/>
                        </a:rPr>
                        <a:t>1 day</a:t>
                      </a:r>
                      <a:r>
                        <a:rPr lang="en-GB" sz="1200" b="0" kern="1200" dirty="0">
                          <a:solidFill>
                            <a:schemeClr val="tx1"/>
                          </a:solidFill>
                          <a:effectLst/>
                        </a:rPr>
                        <a:t>. ‘Getting Started’ and best practices. Participants take the ‘Eggplant Essentials’ certification test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kern="1200" dirty="0">
                          <a:solidFill>
                            <a:schemeClr val="tx1"/>
                          </a:solidFill>
                          <a:effectLst/>
                        </a:rPr>
                        <a:t>​</a:t>
                      </a:r>
                      <a:r>
                        <a:rPr lang="en-GB" sz="1200" b="1" kern="1200" dirty="0">
                          <a:solidFill>
                            <a:schemeClr val="tx1"/>
                          </a:solidFill>
                          <a:effectLst/>
                        </a:rPr>
                        <a:t>2 days</a:t>
                      </a:r>
                      <a:r>
                        <a:rPr lang="en-GB" sz="1200" b="0" kern="1200" dirty="0">
                          <a:solidFill>
                            <a:schemeClr val="tx1"/>
                          </a:solidFill>
                          <a:effectLst/>
                        </a:rPr>
                        <a:t>. 2 days training. Participants take the ‘Eggplant Essentials’ and ‘Eggplant Expert’ certification tests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4196902"/>
                  </a:ext>
                </a:extLst>
              </a:tr>
              <a:tr h="752072"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300" b="1" i="1" dirty="0">
                          <a:solidFill>
                            <a:schemeClr val="tx1"/>
                          </a:solidFill>
                          <a:effectLst/>
                        </a:rPr>
                        <a:t>Verify Setup, Config, </a:t>
                      </a:r>
                      <a:r>
                        <a:rPr lang="en-GB" sz="1300" b="0" i="1" dirty="0">
                          <a:solidFill>
                            <a:schemeClr val="tx1"/>
                          </a:solidFill>
                          <a:effectLst/>
                        </a:rPr>
                        <a:t>​</a:t>
                      </a:r>
                      <a:r>
                        <a:rPr lang="en-GB" sz="1300" b="1" i="1" dirty="0">
                          <a:solidFill>
                            <a:schemeClr val="tx1"/>
                          </a:solidFill>
                          <a:effectLst/>
                        </a:rPr>
                        <a:t>&amp; Integration</a:t>
                      </a:r>
                      <a:r>
                        <a:rPr lang="en-GB" sz="1300" b="0" i="1" dirty="0">
                          <a:solidFill>
                            <a:schemeClr val="tx1"/>
                          </a:solidFill>
                          <a:effectLst/>
                        </a:rPr>
                        <a:t>​</a:t>
                      </a:r>
                      <a:endParaRPr lang="en-GB" sz="1300" b="0" i="1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kern="1200" dirty="0">
                          <a:solidFill>
                            <a:schemeClr val="tx1"/>
                          </a:solidFill>
                          <a:effectLst/>
                        </a:rPr>
                        <a:t>1 day</a:t>
                      </a:r>
                      <a:r>
                        <a:rPr lang="en-GB" sz="1200" b="0" kern="1200" dirty="0">
                          <a:solidFill>
                            <a:schemeClr val="tx1"/>
                          </a:solidFill>
                          <a:effectLst/>
                        </a:rPr>
                        <a:t>. Product installation, setup, configuration. Integration into existing test infrastructure (e.g., test management)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kern="1200" dirty="0">
                          <a:solidFill>
                            <a:schemeClr val="tx1"/>
                          </a:solidFill>
                          <a:effectLst/>
                        </a:rPr>
                        <a:t>1 day</a:t>
                      </a:r>
                      <a:r>
                        <a:rPr lang="en-GB" sz="1200" b="0" kern="1200" dirty="0">
                          <a:solidFill>
                            <a:schemeClr val="tx1"/>
                          </a:solidFill>
                          <a:effectLst/>
                        </a:rPr>
                        <a:t>. Setup test automation environment and integrate with other infrastructure (e.g., Jenkins)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0874722"/>
                  </a:ext>
                </a:extLst>
              </a:tr>
              <a:tr h="363496"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300" b="1" i="1">
                          <a:solidFill>
                            <a:schemeClr val="tx1"/>
                          </a:solidFill>
                          <a:effectLst/>
                        </a:rPr>
                        <a:t>Scripting Kick-start</a:t>
                      </a:r>
                      <a:r>
                        <a:rPr lang="en-GB" sz="1300" b="0" i="1">
                          <a:solidFill>
                            <a:schemeClr val="tx1"/>
                          </a:solidFill>
                          <a:effectLst/>
                        </a:rPr>
                        <a:t>​</a:t>
                      </a:r>
                      <a:endParaRPr lang="en-GB" sz="1300" b="0" i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kern="1200" dirty="0">
                          <a:solidFill>
                            <a:schemeClr val="tx1"/>
                          </a:solidFill>
                          <a:effectLst/>
                        </a:rPr>
                        <a:t>2 days</a:t>
                      </a:r>
                      <a:r>
                        <a:rPr lang="en-GB" sz="1200" b="0" kern="1200" dirty="0">
                          <a:solidFill>
                            <a:schemeClr val="tx1"/>
                          </a:solidFill>
                          <a:effectLst/>
                        </a:rPr>
                        <a:t>. Implement an initial set of test assets​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kern="1200" dirty="0">
                          <a:solidFill>
                            <a:schemeClr val="tx1"/>
                          </a:solidFill>
                          <a:effectLst/>
                        </a:rPr>
                        <a:t>2 days</a:t>
                      </a:r>
                      <a:r>
                        <a:rPr lang="en-GB" sz="1200" b="0" kern="1200" dirty="0">
                          <a:solidFill>
                            <a:schemeClr val="tx1"/>
                          </a:solidFill>
                          <a:effectLst/>
                        </a:rPr>
                        <a:t>. Implement an initial set of test scripts​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7030306"/>
                  </a:ext>
                </a:extLst>
              </a:tr>
              <a:tr h="58975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300" b="1" i="1" dirty="0">
                          <a:solidFill>
                            <a:schemeClr val="tx1"/>
                          </a:solidFill>
                          <a:effectLst/>
                        </a:rPr>
                        <a:t>Demonstration</a:t>
                      </a:r>
                      <a:r>
                        <a:rPr lang="en-GB" sz="1300" b="0" i="1" dirty="0">
                          <a:solidFill>
                            <a:schemeClr val="tx1"/>
                          </a:solidFill>
                          <a:effectLst/>
                        </a:rPr>
                        <a:t>​</a:t>
                      </a:r>
                      <a:endParaRPr lang="en-GB" sz="1300" b="0" i="1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kern="1200" dirty="0">
                          <a:solidFill>
                            <a:schemeClr val="tx1"/>
                          </a:solidFill>
                          <a:effectLst/>
                        </a:rPr>
                        <a:t>1 hour</a:t>
                      </a:r>
                      <a:r>
                        <a:rPr lang="en-GB" sz="1200" b="0" kern="1200" dirty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r>
                        <a:rPr lang="en-GB" sz="1200" b="1" kern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r>
                        <a:rPr lang="en-GB" sz="1200" b="0" kern="1200" dirty="0">
                          <a:solidFill>
                            <a:schemeClr val="tx1"/>
                          </a:solidFill>
                          <a:effectLst/>
                        </a:rPr>
                        <a:t>Demonstration of test automation capabilities delivered for project sponsor​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kern="1200" dirty="0">
                          <a:solidFill>
                            <a:schemeClr val="tx1"/>
                          </a:solidFill>
                          <a:effectLst/>
                        </a:rPr>
                        <a:t>1 hour</a:t>
                      </a:r>
                      <a:r>
                        <a:rPr lang="en-GB" sz="1200" b="0" kern="1200" dirty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  <a:r>
                        <a:rPr lang="en-GB" sz="1200" b="1" kern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r>
                        <a:rPr lang="en-GB" sz="1200" b="0" kern="1200" dirty="0">
                          <a:solidFill>
                            <a:schemeClr val="tx1"/>
                          </a:solidFill>
                          <a:effectLst/>
                        </a:rPr>
                        <a:t>Demonstration of test automation capabilities delivered for project sponsor​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2231646"/>
                  </a:ext>
                </a:extLst>
              </a:tr>
              <a:tr h="58975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300" b="1" i="1" dirty="0">
                          <a:solidFill>
                            <a:schemeClr val="tx1"/>
                          </a:solidFill>
                          <a:effectLst/>
                        </a:rPr>
                        <a:t>Check-in days</a:t>
                      </a:r>
                      <a:r>
                        <a:rPr lang="en-GB" sz="1300" b="0" i="1" dirty="0">
                          <a:solidFill>
                            <a:schemeClr val="tx1"/>
                          </a:solidFill>
                          <a:effectLst/>
                        </a:rPr>
                        <a:t>​</a:t>
                      </a:r>
                      <a:endParaRPr lang="en-GB" sz="1300" b="0" i="1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kern="1200" dirty="0">
                          <a:solidFill>
                            <a:schemeClr val="tx1"/>
                          </a:solidFill>
                          <a:effectLst/>
                        </a:rPr>
                        <a:t>1 day.</a:t>
                      </a:r>
                      <a:r>
                        <a:rPr lang="en-GB" sz="1200" b="0" kern="1200" dirty="0">
                          <a:solidFill>
                            <a:schemeClr val="tx1"/>
                          </a:solidFill>
                          <a:effectLst/>
                        </a:rPr>
                        <a:t>​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kern="1200" dirty="0">
                          <a:solidFill>
                            <a:schemeClr val="tx1"/>
                          </a:solidFill>
                          <a:effectLst/>
                        </a:rPr>
                        <a:t>6 days. </a:t>
                      </a:r>
                      <a:r>
                        <a:rPr lang="en-GB" sz="1200" b="0" kern="1200" dirty="0">
                          <a:solidFill>
                            <a:schemeClr val="tx1"/>
                          </a:solidFill>
                          <a:effectLst/>
                        </a:rPr>
                        <a:t>Regular check in days to ensure a smooth deployment and continued alignment with the Engagement Plan.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9661415"/>
                  </a:ext>
                </a:extLst>
              </a:tr>
              <a:tr h="58975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300" b="1" dirty="0">
                          <a:solidFill>
                            <a:schemeClr val="bg1"/>
                          </a:solidFill>
                          <a:effectLst/>
                        </a:rPr>
                        <a:t>Total</a:t>
                      </a:r>
                      <a:r>
                        <a:rPr lang="en-GB" sz="1300" b="0" dirty="0">
                          <a:solidFill>
                            <a:schemeClr val="bg1"/>
                          </a:solidFill>
                          <a:effectLst/>
                        </a:rPr>
                        <a:t>​</a:t>
                      </a:r>
                      <a:endParaRPr lang="en-GB" sz="1300" b="0" i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100000">
                          <a:schemeClr val="accent1">
                            <a:lumMod val="50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kern="1200" dirty="0">
                          <a:solidFill>
                            <a:schemeClr val="bg1"/>
                          </a:solidFill>
                          <a:effectLst/>
                        </a:rPr>
                        <a:t>4 days on-site, 1 day offsite, ½ day prep.</a:t>
                      </a:r>
                      <a:r>
                        <a:rPr lang="en-GB" sz="1200" b="0" kern="1200" dirty="0">
                          <a:solidFill>
                            <a:schemeClr val="bg1"/>
                          </a:solidFill>
                          <a:effectLst/>
                        </a:rPr>
                        <a:t>​</a:t>
                      </a:r>
                      <a:endParaRPr lang="en-US" sz="12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100000">
                          <a:schemeClr val="accent1">
                            <a:lumMod val="50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kern="1200" dirty="0">
                          <a:solidFill>
                            <a:schemeClr val="bg1"/>
                          </a:solidFill>
                          <a:effectLst/>
                        </a:rPr>
                        <a:t>11 days on-site, 1 day prep.</a:t>
                      </a:r>
                      <a:r>
                        <a:rPr lang="en-GB" sz="1200" b="0" kern="1200" dirty="0">
                          <a:solidFill>
                            <a:schemeClr val="bg1"/>
                          </a:solidFill>
                          <a:effectLst/>
                        </a:rPr>
                        <a:t>​</a:t>
                      </a:r>
                      <a:endParaRPr lang="en-US" sz="12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chemeClr val="accent1"/>
                        </a:gs>
                        <a:gs pos="100000">
                          <a:schemeClr val="accent1">
                            <a:lumMod val="50000"/>
                          </a:schemeClr>
                        </a:gs>
                      </a:gsLst>
                      <a:lin ang="54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551930711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18CEE028-63CE-4081-8920-54EF4207CA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stStart &amp; FastStart</a:t>
            </a:r>
            <a:r>
              <a:rPr lang="en-US" dirty="0">
                <a:solidFill>
                  <a:schemeClr val="accent4"/>
                </a:solidFill>
              </a:rPr>
              <a:t>+</a:t>
            </a:r>
          </a:p>
        </p:txBody>
      </p:sp>
      <p:sp>
        <p:nvSpPr>
          <p:cNvPr id="8" name="Pentagon 7">
            <a:extLst>
              <a:ext uri="{FF2B5EF4-FFF2-40B4-BE49-F238E27FC236}">
                <a16:creationId xmlns:a16="http://schemas.microsoft.com/office/drawing/2014/main" id="{E1004D03-072D-A941-BBE9-D600D6D7DF79}"/>
              </a:ext>
            </a:extLst>
          </p:cNvPr>
          <p:cNvSpPr/>
          <p:nvPr/>
        </p:nvSpPr>
        <p:spPr>
          <a:xfrm>
            <a:off x="4209792" y="1011086"/>
            <a:ext cx="3763776" cy="475119"/>
          </a:xfrm>
          <a:prstGeom prst="homePlate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i="1" dirty="0">
                <a:solidFill>
                  <a:schemeClr val="bg1"/>
                </a:solidFill>
              </a:rPr>
              <a:t>FastStart</a:t>
            </a:r>
            <a:endParaRPr lang="en-US" sz="2000" i="1" dirty="0">
              <a:solidFill>
                <a:schemeClr val="bg1"/>
              </a:solidFill>
            </a:endParaRPr>
          </a:p>
        </p:txBody>
      </p:sp>
      <p:sp>
        <p:nvSpPr>
          <p:cNvPr id="10" name="Pentagon 9">
            <a:extLst>
              <a:ext uri="{FF2B5EF4-FFF2-40B4-BE49-F238E27FC236}">
                <a16:creationId xmlns:a16="http://schemas.microsoft.com/office/drawing/2014/main" id="{EA934987-627E-8B46-8CC0-C41EAB25C5DD}"/>
              </a:ext>
            </a:extLst>
          </p:cNvPr>
          <p:cNvSpPr/>
          <p:nvPr/>
        </p:nvSpPr>
        <p:spPr>
          <a:xfrm>
            <a:off x="7978962" y="1011085"/>
            <a:ext cx="3763776" cy="475119"/>
          </a:xfrm>
          <a:prstGeom prst="homePlate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i="1" dirty="0">
                <a:solidFill>
                  <a:schemeClr val="bg1"/>
                </a:solidFill>
              </a:rPr>
              <a:t>FastStart+</a:t>
            </a:r>
            <a:endParaRPr lang="en-US" sz="20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855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9980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P_AGENDA" val="SectionNumber SlideNumber"/>
  <p:tag name="EE4P_STYLE_ID" val="39dcc26a-7131-49f4-a9eb-1c0521500c03"/>
</p:tagLst>
</file>

<file path=ppt/theme/theme1.xml><?xml version="1.0" encoding="utf-8"?>
<a:theme xmlns:a="http://schemas.openxmlformats.org/drawingml/2006/main" name="2017 Keysight Macro LIGHT">
  <a:themeElements>
    <a:clrScheme name="Keysight Light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E90029"/>
      </a:hlink>
      <a:folHlink>
        <a:srgbClr val="740014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dirty="0" err="1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Keysight_Widescreen_April_2019" id="{D155A26F-632A-4EBA-95F0-FB71A7C46951}" vid="{BC602805-3742-4FBE-BD69-002A98040FFB}"/>
    </a:ext>
  </a:extLst>
</a:theme>
</file>

<file path=ppt/theme/theme2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2017 Keysight MACRO">
      <a:dk1>
        <a:sysClr val="windowText" lastClr="000000"/>
      </a:dk1>
      <a:lt1>
        <a:srgbClr val="FFFFFF"/>
      </a:lt1>
      <a:dk2>
        <a:srgbClr val="A4A1A9"/>
      </a:dk2>
      <a:lt2>
        <a:srgbClr val="FFA623"/>
      </a:lt2>
      <a:accent1>
        <a:srgbClr val="E90029"/>
      </a:accent1>
      <a:accent2>
        <a:srgbClr val="E76C27"/>
      </a:accent2>
      <a:accent3>
        <a:srgbClr val="8D3785"/>
      </a:accent3>
      <a:accent4>
        <a:srgbClr val="5B348A"/>
      </a:accent4>
      <a:accent5>
        <a:srgbClr val="225792"/>
      </a:accent5>
      <a:accent6>
        <a:srgbClr val="07858B"/>
      </a:accent6>
      <a:hlink>
        <a:srgbClr val="FFA623"/>
      </a:hlink>
      <a:folHlink>
        <a:srgbClr val="A4A1A9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tx1">
              <a:lumMod val="75000"/>
              <a:lumOff val="2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B2A692FFBCCF438876265A54FFF8A5" ma:contentTypeVersion="13" ma:contentTypeDescription="Create a new document." ma:contentTypeScope="" ma:versionID="f15def4ec89954eb694a854ca42b8f5e">
  <xsd:schema xmlns:xsd="http://www.w3.org/2001/XMLSchema" xmlns:xs="http://www.w3.org/2001/XMLSchema" xmlns:p="http://schemas.microsoft.com/office/2006/metadata/properties" xmlns:ns1="http://schemas.microsoft.com/sharepoint/v3" xmlns:ns2="7d6680e4-7d33-4e0e-bd96-64da7162e107" xmlns:ns3="c1b2c0f3-a129-44c5-acd5-c8354b2cec1b" targetNamespace="http://schemas.microsoft.com/office/2006/metadata/properties" ma:root="true" ma:fieldsID="7126a6b4dc90bd5e9b6fc8cce99a4f7c" ns1:_="" ns2:_="" ns3:_="">
    <xsd:import namespace="http://schemas.microsoft.com/sharepoint/v3"/>
    <xsd:import namespace="7d6680e4-7d33-4e0e-bd96-64da7162e107"/>
    <xsd:import namespace="c1b2c0f3-a129-44c5-acd5-c8354b2cec1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4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5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6680e4-7d33-4e0e-bd96-64da7162e1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b2c0f3-a129-44c5-acd5-c8354b2cec1b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C3E00BA-CFF4-4D2F-9C59-F0BE143C8D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d6680e4-7d33-4e0e-bd96-64da7162e107"/>
    <ds:schemaRef ds:uri="c1b2c0f3-a129-44c5-acd5-c8354b2cec1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F557FDC-6B69-4AF4-9507-5607DAB1E8F5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B24C61C5-4B44-40D0-B80A-53165299EBA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17 Keysight Macro LIGHT</Template>
  <TotalTime>90</TotalTime>
  <Words>1001</Words>
  <Application>Microsoft Macintosh PowerPoint</Application>
  <PresentationFormat>Widescreen</PresentationFormat>
  <Paragraphs>170</Paragraphs>
  <Slides>8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1" baseType="lpstr">
      <vt:lpstr>Arial</vt:lpstr>
      <vt:lpstr>Franklin Gothic Book</vt:lpstr>
      <vt:lpstr>2017 Keysight Macro LIGHT</vt:lpstr>
      <vt:lpstr>Eggplant Services</vt:lpstr>
      <vt:lpstr>PowerPoint Presentation</vt:lpstr>
      <vt:lpstr>Aim of Eggplant Automation Services </vt:lpstr>
      <vt:lpstr>EAS (Deploy) </vt:lpstr>
      <vt:lpstr>EAS Proposed Timeline</vt:lpstr>
      <vt:lpstr>EAS On-Demand</vt:lpstr>
      <vt:lpstr>FastStart &amp; FastStart+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ggplant Services</dc:title>
  <dc:creator>Tara McLaughlin</dc:creator>
  <cp:lastModifiedBy>Tara McLaughlin</cp:lastModifiedBy>
  <cp:revision>14</cp:revision>
  <dcterms:created xsi:type="dcterms:W3CDTF">2021-03-03T02:50:49Z</dcterms:created>
  <dcterms:modified xsi:type="dcterms:W3CDTF">2021-03-09T23:19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B2A692FFBCCF438876265A54FFF8A5</vt:lpwstr>
  </property>
</Properties>
</file>